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2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13"/>
  </p:notesMasterIdLst>
  <p:sldIdLst>
    <p:sldId id="2145706742" r:id="rId6"/>
    <p:sldId id="2145706743" r:id="rId7"/>
    <p:sldId id="2145706747" r:id="rId8"/>
    <p:sldId id="2145706752" r:id="rId9"/>
    <p:sldId id="2145706749" r:id="rId10"/>
    <p:sldId id="2145706751" r:id="rId11"/>
    <p:sldId id="2145706753" r:id="rId12"/>
  </p:sldIdLst>
  <p:sldSz cx="12192000" cy="6858000"/>
  <p:notesSz cx="6858000" cy="9144000"/>
  <p:custDataLst>
    <p:tags r:id="rId1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840">
          <p15:clr>
            <a:srgbClr val="A4A3A4"/>
          </p15:clr>
        </p15:guide>
        <p15:guide id="4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FFFFFF"/>
    <a:srgbClr val="FAF8F6"/>
    <a:srgbClr val="F7F7F7"/>
    <a:srgbClr val="F2F1F1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63" autoAdjust="0"/>
    <p:restoredTop sz="96296"/>
  </p:normalViewPr>
  <p:slideViewPr>
    <p:cSldViewPr snapToGrid="0" snapToObjects="1" showGuides="1">
      <p:cViewPr varScale="1">
        <p:scale>
          <a:sx n="115" d="100"/>
          <a:sy n="115" d="100"/>
        </p:scale>
        <p:origin x="732" y="108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96" d="100"/>
          <a:sy n="96" d="100"/>
        </p:scale>
        <p:origin x="2824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400FBA-3B4D-594C-9C95-852DB6F34EF1}" type="datetimeFigureOut">
              <a:rPr lang="ru-RU" smtClean="0"/>
              <a:t>11.11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1C0842-6D7A-3748-8A63-0F77479CA0A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03705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2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2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2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8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9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3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pn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3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pn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3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pn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3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png"/><Relationship Id="rId5" Type="http://schemas.openxmlformats.org/officeDocument/2006/relationships/image" Target="../media/image36.emf"/><Relationship Id="rId4" Type="http://schemas.openxmlformats.org/officeDocument/2006/relationships/oleObject" Target="../embeddings/oleObject3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5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3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3.png"/><Relationship Id="rId5" Type="http://schemas.openxmlformats.org/officeDocument/2006/relationships/image" Target="../media/image39.emf"/><Relationship Id="rId4" Type="http://schemas.openxmlformats.org/officeDocument/2006/relationships/oleObject" Target="../embeddings/oleObject37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3.png"/><Relationship Id="rId5" Type="http://schemas.openxmlformats.org/officeDocument/2006/relationships/image" Target="../media/image40.emf"/><Relationship Id="rId4" Type="http://schemas.openxmlformats.org/officeDocument/2006/relationships/oleObject" Target="../embeddings/oleObject38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9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0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.pn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41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.png"/><Relationship Id="rId5" Type="http://schemas.openxmlformats.org/officeDocument/2006/relationships/image" Target="../media/image42.emf"/><Relationship Id="rId4" Type="http://schemas.openxmlformats.org/officeDocument/2006/relationships/oleObject" Target="../embeddings/oleObject4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стер-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C0AA46F0-EFAB-2347-98F5-5E55DE446E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71619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C1B4EF-64D7-894B-8937-1E4CB50F3D07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Текст 2">
            <a:extLst>
              <a:ext uri="{FF2B5EF4-FFF2-40B4-BE49-F238E27FC236}">
                <a16:creationId xmlns:a16="http://schemas.microsoft.com/office/drawing/2014/main" id="{BC9D3F86-46AF-B148-81A5-CE22C9BB66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763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</p:spTree>
    <p:extLst>
      <p:ext uri="{BB962C8B-B14F-4D97-AF65-F5344CB8AC3E}">
        <p14:creationId xmlns:p14="http://schemas.microsoft.com/office/powerpoint/2010/main" val="18385868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00137109-3779-E74D-A50A-BAD2E6958E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71063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олилиния 14">
            <a:extLst>
              <a:ext uri="{FF2B5EF4-FFF2-40B4-BE49-F238E27FC236}">
                <a16:creationId xmlns:a16="http://schemas.microsoft.com/office/drawing/2014/main" id="{83C1CB54-B30C-8443-AF30-7FD7D4FB9756}"/>
              </a:ext>
            </a:extLst>
          </p:cNvPr>
          <p:cNvSpPr/>
          <p:nvPr userDrawn="1"/>
        </p:nvSpPr>
        <p:spPr>
          <a:xfrm>
            <a:off x="5608219" y="0"/>
            <a:ext cx="6583781" cy="6858000"/>
          </a:xfrm>
          <a:custGeom>
            <a:avLst/>
            <a:gdLst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1171022 w 6583781"/>
              <a:gd name="connsiteY4" fmla="*/ 3414392 h 6858000"/>
              <a:gd name="connsiteX5" fmla="*/ 0 w 6583781"/>
              <a:gd name="connsiteY5" fmla="*/ 0 h 6858000"/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889668 w 6583781"/>
              <a:gd name="connsiteY4" fmla="*/ 3431977 h 6858000"/>
              <a:gd name="connsiteX5" fmla="*/ 0 w 658378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83781" h="6858000">
                <a:moveTo>
                  <a:pt x="0" y="0"/>
                </a:moveTo>
                <a:lnTo>
                  <a:pt x="6583781" y="0"/>
                </a:lnTo>
                <a:lnTo>
                  <a:pt x="6583781" y="6858000"/>
                </a:lnTo>
                <a:lnTo>
                  <a:pt x="30423" y="6858000"/>
                </a:lnTo>
                <a:lnTo>
                  <a:pt x="889668" y="3431977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D9E37F7E-C336-9643-AC5D-D0FE6DDD67EF}"/>
              </a:ext>
            </a:extLst>
          </p:cNvPr>
          <p:cNvGrpSpPr/>
          <p:nvPr userDrawn="1"/>
        </p:nvGrpSpPr>
        <p:grpSpPr>
          <a:xfrm>
            <a:off x="5436180" y="0"/>
            <a:ext cx="1127505" cy="6876000"/>
            <a:chOff x="3945699" y="0"/>
            <a:chExt cx="1127505" cy="6876000"/>
          </a:xfrm>
        </p:grpSpPr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6C324F41-AF03-884E-8654-6E6664AB8733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512D1BF3-1C93-CE45-8DB2-34E0032C5AC3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70E4419-0151-D940-97ED-C434154021D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B5CA5854-7C33-0F4E-9038-C1C13F4ABB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453029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881D8B47-EB7C-6649-BF93-51455D9DB8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8" y="6359240"/>
            <a:ext cx="4484244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583FD54A-88D9-B845-A3A6-718A291D6967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F921445E-F72C-C24D-90CE-E133ECE97A0C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02B306DE-382D-7849-B66D-0EEE39DFB747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24867360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2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69CBA11B-339F-4343-A51B-93F6F783B1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33554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олилиния 13">
            <a:extLst>
              <a:ext uri="{FF2B5EF4-FFF2-40B4-BE49-F238E27FC236}">
                <a16:creationId xmlns:a16="http://schemas.microsoft.com/office/drawing/2014/main" id="{95D8B76D-246E-4242-9780-F969AA656163}"/>
              </a:ext>
            </a:extLst>
          </p:cNvPr>
          <p:cNvSpPr/>
          <p:nvPr userDrawn="1"/>
        </p:nvSpPr>
        <p:spPr>
          <a:xfrm>
            <a:off x="5608219" y="0"/>
            <a:ext cx="6583781" cy="6858000"/>
          </a:xfrm>
          <a:custGeom>
            <a:avLst/>
            <a:gdLst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1171022 w 6583781"/>
              <a:gd name="connsiteY4" fmla="*/ 3414392 h 6858000"/>
              <a:gd name="connsiteX5" fmla="*/ 0 w 6583781"/>
              <a:gd name="connsiteY5" fmla="*/ 0 h 6858000"/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889668 w 6583781"/>
              <a:gd name="connsiteY4" fmla="*/ 3431977 h 6858000"/>
              <a:gd name="connsiteX5" fmla="*/ 0 w 658378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83781" h="6858000">
                <a:moveTo>
                  <a:pt x="0" y="0"/>
                </a:moveTo>
                <a:lnTo>
                  <a:pt x="6583781" y="0"/>
                </a:lnTo>
                <a:lnTo>
                  <a:pt x="6583781" y="6858000"/>
                </a:lnTo>
                <a:lnTo>
                  <a:pt x="30423" y="6858000"/>
                </a:lnTo>
                <a:lnTo>
                  <a:pt x="889668" y="3431977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B6BCBCD4-687C-B942-A7C2-195FA422A45D}"/>
              </a:ext>
            </a:extLst>
          </p:cNvPr>
          <p:cNvGrpSpPr/>
          <p:nvPr userDrawn="1"/>
        </p:nvGrpSpPr>
        <p:grpSpPr>
          <a:xfrm>
            <a:off x="5436180" y="0"/>
            <a:ext cx="1127505" cy="6876000"/>
            <a:chOff x="3945699" y="0"/>
            <a:chExt cx="1127505" cy="6876000"/>
          </a:xfrm>
        </p:grpSpPr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44BEE77A-ECE5-9849-966B-ADB933E20C59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3160A6F8-107F-B64B-9A0D-D4C75BA521F9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3DCF0A5-E023-7044-BA92-FB88CBEF22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5" name="Заголовок 16">
            <a:extLst>
              <a:ext uri="{FF2B5EF4-FFF2-40B4-BE49-F238E27FC236}">
                <a16:creationId xmlns:a16="http://schemas.microsoft.com/office/drawing/2014/main" id="{0CDC513E-0CE6-1F41-8110-6F28BDD1B7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453029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D611BEAC-70B9-344B-A434-68FE15195B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8" y="6359240"/>
            <a:ext cx="4484244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EFE53861-EA93-B74C-83AD-DDA0FF9DF0D7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A0D4C207-E31F-0D4F-B51E-43EF9953B4D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F0036A70-831E-A143-B5D4-B6AB77EC5AF4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3763852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олилиния 13">
            <a:extLst>
              <a:ext uri="{FF2B5EF4-FFF2-40B4-BE49-F238E27FC236}">
                <a16:creationId xmlns:a16="http://schemas.microsoft.com/office/drawing/2014/main" id="{B73C5764-6228-A64E-8D79-ACA932C1457A}"/>
              </a:ext>
            </a:extLst>
          </p:cNvPr>
          <p:cNvSpPr/>
          <p:nvPr userDrawn="1"/>
        </p:nvSpPr>
        <p:spPr>
          <a:xfrm>
            <a:off x="7867461" y="0"/>
            <a:ext cx="4324539" cy="6858000"/>
          </a:xfrm>
          <a:custGeom>
            <a:avLst/>
            <a:gdLst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1171022 w 4238145"/>
              <a:gd name="connsiteY4" fmla="*/ 3414392 h 6858000"/>
              <a:gd name="connsiteX5" fmla="*/ 0 w 4238145"/>
              <a:gd name="connsiteY5" fmla="*/ 0 h 6858000"/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863204 w 4238145"/>
              <a:gd name="connsiteY4" fmla="*/ 3414392 h 6858000"/>
              <a:gd name="connsiteX5" fmla="*/ 0 w 4238145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38145" h="6858000">
                <a:moveTo>
                  <a:pt x="0" y="0"/>
                </a:moveTo>
                <a:lnTo>
                  <a:pt x="4238145" y="0"/>
                </a:lnTo>
                <a:lnTo>
                  <a:pt x="4238145" y="6858000"/>
                </a:lnTo>
                <a:lnTo>
                  <a:pt x="30423" y="6858000"/>
                </a:lnTo>
                <a:lnTo>
                  <a:pt x="863204" y="341439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7E450DD2-28F5-D947-A104-00BF2053FC43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id="{DBAFEF0B-B938-F747-AA7D-B42D5762CA62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95B84EB3-72B9-E24B-83A0-B4E4F32A624A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2B0DC16F-F84B-834E-9351-53EC390BD1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2D5A29B1-A881-4045-93B2-D4CD3FFCD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5" y="402822"/>
            <a:ext cx="6794505" cy="68580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4FCF6F75-CDFE-5949-A756-FBF1DFE0E3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0BB92506-89F4-1C47-BC01-EF0FC7D21D3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AAEA8BC5-FDA6-2F47-A42D-A1F412C3582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87440636-FBEA-9C4A-BD85-538C703A4139}"/>
              </a:ext>
            </a:extLst>
          </p:cNvPr>
          <p:cNvSpPr/>
          <p:nvPr userDrawn="1"/>
        </p:nvSpPr>
        <p:spPr>
          <a:xfrm>
            <a:off x="8730916" y="6403462"/>
            <a:ext cx="230555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23546063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3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728AC313-AE0F-7240-97AF-55E3100A0A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34430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0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олилиния 14">
            <a:extLst>
              <a:ext uri="{FF2B5EF4-FFF2-40B4-BE49-F238E27FC236}">
                <a16:creationId xmlns:a16="http://schemas.microsoft.com/office/drawing/2014/main" id="{3E4394A5-8516-5C4F-93B1-59FD8825F990}"/>
              </a:ext>
            </a:extLst>
          </p:cNvPr>
          <p:cNvSpPr/>
          <p:nvPr userDrawn="1"/>
        </p:nvSpPr>
        <p:spPr>
          <a:xfrm>
            <a:off x="7867461" y="0"/>
            <a:ext cx="4324539" cy="6858000"/>
          </a:xfrm>
          <a:custGeom>
            <a:avLst/>
            <a:gdLst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1171022 w 4238145"/>
              <a:gd name="connsiteY4" fmla="*/ 3414392 h 6858000"/>
              <a:gd name="connsiteX5" fmla="*/ 0 w 4238145"/>
              <a:gd name="connsiteY5" fmla="*/ 0 h 6858000"/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863204 w 4238145"/>
              <a:gd name="connsiteY4" fmla="*/ 3414392 h 6858000"/>
              <a:gd name="connsiteX5" fmla="*/ 0 w 4238145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38145" h="6858000">
                <a:moveTo>
                  <a:pt x="0" y="0"/>
                </a:moveTo>
                <a:lnTo>
                  <a:pt x="4238145" y="0"/>
                </a:lnTo>
                <a:lnTo>
                  <a:pt x="4238145" y="6858000"/>
                </a:lnTo>
                <a:lnTo>
                  <a:pt x="30423" y="6858000"/>
                </a:lnTo>
                <a:lnTo>
                  <a:pt x="863204" y="3414392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AC4DF46C-98E3-5A40-9CAE-0AA278B874A6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8A8AECCE-0BAB-984D-A823-45462B988A31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1099A9C1-5BA1-6246-BE47-2388262AA189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25B0F6C8-091D-BD40-97D5-F53C86A20C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4" name="Заголовок 16">
            <a:extLst>
              <a:ext uri="{FF2B5EF4-FFF2-40B4-BE49-F238E27FC236}">
                <a16:creationId xmlns:a16="http://schemas.microsoft.com/office/drawing/2014/main" id="{A903A132-9B07-D44A-AFDD-0E7A30FD3C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5" y="402822"/>
            <a:ext cx="6794505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F716540C-C742-1342-996B-E961D68B10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3C37F96A-3E4F-BA4B-8A1A-82AEC35CA166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536D87D8-A92A-0646-8EF1-4BC826D6A089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23AA01FA-BEAB-E54B-8013-4B0CB49E6A59}"/>
              </a:ext>
            </a:extLst>
          </p:cNvPr>
          <p:cNvSpPr/>
          <p:nvPr userDrawn="1"/>
        </p:nvSpPr>
        <p:spPr>
          <a:xfrm>
            <a:off x="8730916" y="6403462"/>
            <a:ext cx="230555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3012619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градиент и фото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2875002"/>
            <a:ext cx="3896360" cy="1107996"/>
          </a:xfrm>
        </p:spPr>
        <p:txBody>
          <a:bodyPr lIns="0" tIns="0" rIns="0" bIns="0" anchor="ctr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4680061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3808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863A2C5F-D0EF-2345-8BA6-AB26C145E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8515" y="605322"/>
            <a:ext cx="1433478" cy="478065"/>
          </a:xfrm>
          <a:prstGeom prst="rect">
            <a:avLst/>
          </a:prstGeom>
        </p:spPr>
      </p:pic>
      <p:sp>
        <p:nvSpPr>
          <p:cNvPr id="14" name="Рисунок 21">
            <a:extLst>
              <a:ext uri="{FF2B5EF4-FFF2-40B4-BE49-F238E27FC236}">
                <a16:creationId xmlns:a16="http://schemas.microsoft.com/office/drawing/2014/main" id="{B66BD355-4C68-494D-AEE1-A0EDEC8B03F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64397" y="-2744"/>
            <a:ext cx="7317201" cy="686348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911070 w 7317201"/>
              <a:gd name="connsiteY5" fmla="*/ 3430278 h 6844239"/>
              <a:gd name="connsiteX6" fmla="*/ 0 w 7317201"/>
              <a:gd name="connsiteY6" fmla="*/ 22866 h 6844239"/>
              <a:gd name="connsiteX7" fmla="*/ 0 w 7317201"/>
              <a:gd name="connsiteY7" fmla="*/ 0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17201" h="6844239">
                <a:moveTo>
                  <a:pt x="0" y="0"/>
                </a:moveTo>
                <a:lnTo>
                  <a:pt x="7317201" y="0"/>
                </a:lnTo>
                <a:lnTo>
                  <a:pt x="7317201" y="6844239"/>
                </a:lnTo>
                <a:lnTo>
                  <a:pt x="0" y="6844239"/>
                </a:lnTo>
                <a:lnTo>
                  <a:pt x="0" y="6825611"/>
                </a:lnTo>
                <a:lnTo>
                  <a:pt x="911070" y="3430278"/>
                </a:lnTo>
                <a:lnTo>
                  <a:pt x="0" y="22866"/>
                </a:lnTo>
                <a:lnTo>
                  <a:pt x="0" y="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6EF3C153-09A8-9E4A-BBBA-B55EAC5E8C9F}"/>
              </a:ext>
            </a:extLst>
          </p:cNvPr>
          <p:cNvGrpSpPr/>
          <p:nvPr userDrawn="1"/>
        </p:nvGrpSpPr>
        <p:grpSpPr>
          <a:xfrm>
            <a:off x="4653621" y="0"/>
            <a:ext cx="1127505" cy="6876000"/>
            <a:chOff x="3945699" y="0"/>
            <a:chExt cx="1127505" cy="6876000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F639392A-FFBB-9145-9448-768616538149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F91A37A8-FD0D-A44E-84D1-F8FCE194948A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06021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стрелка и фото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3418977-67EB-1441-B7C6-146BA8BA78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91071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69D28E57-41BD-734F-ABC1-1CE649C7D8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49997" y="-5014"/>
            <a:ext cx="7331601" cy="686575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911070 w 7317201"/>
              <a:gd name="connsiteY5" fmla="*/ 3430278 h 6844239"/>
              <a:gd name="connsiteX6" fmla="*/ 0 w 7317201"/>
              <a:gd name="connsiteY6" fmla="*/ 22866 h 6844239"/>
              <a:gd name="connsiteX7" fmla="*/ 0 w 7317201"/>
              <a:gd name="connsiteY7" fmla="*/ 0 h 6844239"/>
              <a:gd name="connsiteX0" fmla="*/ 0 w 7353201"/>
              <a:gd name="connsiteY0" fmla="*/ 3590 h 6844239"/>
              <a:gd name="connsiteX1" fmla="*/ 7353201 w 7353201"/>
              <a:gd name="connsiteY1" fmla="*/ 0 h 6844239"/>
              <a:gd name="connsiteX2" fmla="*/ 7353201 w 7353201"/>
              <a:gd name="connsiteY2" fmla="*/ 6844239 h 6844239"/>
              <a:gd name="connsiteX3" fmla="*/ 36000 w 7353201"/>
              <a:gd name="connsiteY3" fmla="*/ 6844239 h 6844239"/>
              <a:gd name="connsiteX4" fmla="*/ 36000 w 7353201"/>
              <a:gd name="connsiteY4" fmla="*/ 6825611 h 6844239"/>
              <a:gd name="connsiteX5" fmla="*/ 947070 w 7353201"/>
              <a:gd name="connsiteY5" fmla="*/ 3430278 h 6844239"/>
              <a:gd name="connsiteX6" fmla="*/ 36000 w 7353201"/>
              <a:gd name="connsiteY6" fmla="*/ 22866 h 6844239"/>
              <a:gd name="connsiteX7" fmla="*/ 0 w 7353201"/>
              <a:gd name="connsiteY7" fmla="*/ 3590 h 6844239"/>
              <a:gd name="connsiteX0" fmla="*/ 0 w 7353201"/>
              <a:gd name="connsiteY0" fmla="*/ 5854 h 6846503"/>
              <a:gd name="connsiteX1" fmla="*/ 7353201 w 7353201"/>
              <a:gd name="connsiteY1" fmla="*/ 2264 h 6846503"/>
              <a:gd name="connsiteX2" fmla="*/ 7353201 w 7353201"/>
              <a:gd name="connsiteY2" fmla="*/ 6846503 h 6846503"/>
              <a:gd name="connsiteX3" fmla="*/ 36000 w 7353201"/>
              <a:gd name="connsiteY3" fmla="*/ 6846503 h 6846503"/>
              <a:gd name="connsiteX4" fmla="*/ 36000 w 7353201"/>
              <a:gd name="connsiteY4" fmla="*/ 6827875 h 6846503"/>
              <a:gd name="connsiteX5" fmla="*/ 947070 w 7353201"/>
              <a:gd name="connsiteY5" fmla="*/ 3432542 h 6846503"/>
              <a:gd name="connsiteX6" fmla="*/ 21600 w 7353201"/>
              <a:gd name="connsiteY6" fmla="*/ 0 h 6846503"/>
              <a:gd name="connsiteX7" fmla="*/ 0 w 7353201"/>
              <a:gd name="connsiteY7" fmla="*/ 5854 h 6846503"/>
              <a:gd name="connsiteX0" fmla="*/ 0 w 7331601"/>
              <a:gd name="connsiteY0" fmla="*/ 5854 h 6846503"/>
              <a:gd name="connsiteX1" fmla="*/ 7331601 w 7331601"/>
              <a:gd name="connsiteY1" fmla="*/ 2264 h 6846503"/>
              <a:gd name="connsiteX2" fmla="*/ 7331601 w 7331601"/>
              <a:gd name="connsiteY2" fmla="*/ 6846503 h 6846503"/>
              <a:gd name="connsiteX3" fmla="*/ 14400 w 7331601"/>
              <a:gd name="connsiteY3" fmla="*/ 6846503 h 6846503"/>
              <a:gd name="connsiteX4" fmla="*/ 14400 w 7331601"/>
              <a:gd name="connsiteY4" fmla="*/ 6827875 h 6846503"/>
              <a:gd name="connsiteX5" fmla="*/ 925470 w 7331601"/>
              <a:gd name="connsiteY5" fmla="*/ 3432542 h 6846503"/>
              <a:gd name="connsiteX6" fmla="*/ 0 w 7331601"/>
              <a:gd name="connsiteY6" fmla="*/ 0 h 6846503"/>
              <a:gd name="connsiteX7" fmla="*/ 0 w 7331601"/>
              <a:gd name="connsiteY7" fmla="*/ 5854 h 6846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31601" h="6846503">
                <a:moveTo>
                  <a:pt x="0" y="5854"/>
                </a:moveTo>
                <a:lnTo>
                  <a:pt x="7331601" y="2264"/>
                </a:lnTo>
                <a:lnTo>
                  <a:pt x="7331601" y="6846503"/>
                </a:lnTo>
                <a:lnTo>
                  <a:pt x="14400" y="6846503"/>
                </a:lnTo>
                <a:lnTo>
                  <a:pt x="14400" y="6827875"/>
                </a:lnTo>
                <a:lnTo>
                  <a:pt x="925470" y="3432542"/>
                </a:lnTo>
                <a:lnTo>
                  <a:pt x="0" y="0"/>
                </a:lnTo>
                <a:lnTo>
                  <a:pt x="0" y="5854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2875002"/>
            <a:ext cx="3896360" cy="1107996"/>
          </a:xfrm>
        </p:spPr>
        <p:txBody>
          <a:bodyPr vert="horz" lIns="0" tIns="0" rIns="0" bIns="0" anchor="ctr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4680061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3275" y="6426930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059FC77F-66CA-8846-AABE-186F1F472991}"/>
              </a:ext>
            </a:extLst>
          </p:cNvPr>
          <p:cNvGrpSpPr/>
          <p:nvPr userDrawn="1"/>
        </p:nvGrpSpPr>
        <p:grpSpPr>
          <a:xfrm>
            <a:off x="4653621" y="0"/>
            <a:ext cx="1127505" cy="6876000"/>
            <a:chOff x="3945699" y="0"/>
            <a:chExt cx="1127505" cy="6876000"/>
          </a:xfrm>
        </p:grpSpPr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1418D012-354E-E84A-B2B1-A7E7DDF8171B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id="{83387C35-0704-BE4D-BDDD-73124C1021BF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270D203-0735-5C4D-AAFA-84DB1D3B536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515" y="605321"/>
            <a:ext cx="1433478" cy="47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5194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прозрачный градиент и фото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E779BB7-786D-0B4A-8EAD-208A20C6C5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088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Рисунок 3">
            <a:extLst>
              <a:ext uri="{FF2B5EF4-FFF2-40B4-BE49-F238E27FC236}">
                <a16:creationId xmlns:a16="http://schemas.microsoft.com/office/drawing/2014/main" id="{BDF2F980-7605-2C44-92A8-68B22946F9C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3563144"/>
            <a:ext cx="5254066" cy="1661993"/>
          </a:xfrm>
        </p:spPr>
        <p:txBody>
          <a:bodyPr vert="horz"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br>
              <a:rPr lang="ru-RU" dirty="0"/>
            </a:br>
            <a:r>
              <a:rPr lang="ru-RU" dirty="0"/>
              <a:t>В 3 СТРОКИ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634680"/>
            <a:ext cx="527748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6DC2453-126B-714E-9849-6C142052BD6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2770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плаш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C1CC194-74B6-7545-8CD8-7FDA8524B7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71298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>
            <a:extLst>
              <a:ext uri="{FF2B5EF4-FFF2-40B4-BE49-F238E27FC236}">
                <a16:creationId xmlns:a16="http://schemas.microsoft.com/office/drawing/2014/main" id="{6B28240E-A3EC-6A43-BADC-A2A9ED5B149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3436153"/>
            <a:ext cx="5254066" cy="1708354"/>
          </a:xfrm>
        </p:spPr>
        <p:txBody>
          <a:bodyPr vert="horz"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br>
              <a:rPr lang="ru-RU" dirty="0"/>
            </a:br>
            <a:r>
              <a:rPr lang="ru-RU" dirty="0"/>
              <a:t>В 3 СТРОКИ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366954"/>
            <a:ext cx="527748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5846788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</p:spTree>
    <p:extLst>
      <p:ext uri="{BB962C8B-B14F-4D97-AF65-F5344CB8AC3E}">
        <p14:creationId xmlns:p14="http://schemas.microsoft.com/office/powerpoint/2010/main" val="23368963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: градиент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31378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11F5C4-C9AA-4A48-8171-7867F8EF8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71E0D75-1C9A-D94E-8A7E-42607AF206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sp>
        <p:nvSpPr>
          <p:cNvPr id="11" name="Заголовок 16">
            <a:extLst>
              <a:ext uri="{FF2B5EF4-FFF2-40B4-BE49-F238E27FC236}">
                <a16:creationId xmlns:a16="http://schemas.microsoft.com/office/drawing/2014/main" id="{226960CC-ABF3-CD45-A9CB-8060B570BF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3064757"/>
            <a:ext cx="7711532" cy="553998"/>
          </a:xfrm>
        </p:spPr>
        <p:txBody>
          <a:bodyPr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12" name="Текст 18">
            <a:extLst>
              <a:ext uri="{FF2B5EF4-FFF2-40B4-BE49-F238E27FC236}">
                <a16:creationId xmlns:a16="http://schemas.microsoft.com/office/drawing/2014/main" id="{B82306DD-6F41-D247-95E0-843412512A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8515" y="5128363"/>
            <a:ext cx="7745904" cy="249299"/>
          </a:xfrm>
        </p:spPr>
        <p:txBody>
          <a:bodyPr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дпись к заголовку</a:t>
            </a:r>
          </a:p>
        </p:txBody>
      </p:sp>
      <p:sp>
        <p:nvSpPr>
          <p:cNvPr id="14" name="Текст 6">
            <a:extLst>
              <a:ext uri="{FF2B5EF4-FFF2-40B4-BE49-F238E27FC236}">
                <a16:creationId xmlns:a16="http://schemas.microsoft.com/office/drawing/2014/main" id="{414726B7-1ED0-1544-B549-4C1E2C0417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E3A4212F-6126-9942-8871-478C059F4181}"/>
              </a:ext>
            </a:extLst>
          </p:cNvPr>
          <p:cNvGrpSpPr/>
          <p:nvPr userDrawn="1"/>
        </p:nvGrpSpPr>
        <p:grpSpPr>
          <a:xfrm>
            <a:off x="257894" y="3149425"/>
            <a:ext cx="361110" cy="371578"/>
            <a:chOff x="383279" y="3833472"/>
            <a:chExt cx="361110" cy="371578"/>
          </a:xfrm>
        </p:grpSpPr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64E603CC-0647-1245-8FD3-D8996680FD27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1" name="Нашивка 20">
              <a:extLst>
                <a:ext uri="{FF2B5EF4-FFF2-40B4-BE49-F238E27FC236}">
                  <a16:creationId xmlns:a16="http://schemas.microsoft.com/office/drawing/2014/main" id="{3A84CF49-BDC6-D34F-A0B2-5832246D3495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445329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: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0086FB1A-3CCC-2046-8432-813BAFB595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15962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0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6">
            <a:extLst>
              <a:ext uri="{FF2B5EF4-FFF2-40B4-BE49-F238E27FC236}">
                <a16:creationId xmlns:a16="http://schemas.microsoft.com/office/drawing/2014/main" id="{070C9E5A-B517-1449-BB8A-5068C78113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B0B57636-21D7-FC48-AE04-4F9EC2E1C1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2700671"/>
            <a:ext cx="4693672" cy="553998"/>
          </a:xfrm>
        </p:spPr>
        <p:txBody>
          <a:bodyPr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18" name="Текст 18">
            <a:extLst>
              <a:ext uri="{FF2B5EF4-FFF2-40B4-BE49-F238E27FC236}">
                <a16:creationId xmlns:a16="http://schemas.microsoft.com/office/drawing/2014/main" id="{69633C30-2C18-D74E-859C-06DC04AECB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8516" y="5514975"/>
            <a:ext cx="4693672" cy="249299"/>
          </a:xfrm>
        </p:spPr>
        <p:txBody>
          <a:bodyPr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дпись к заголовку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D2AA8BFC-6053-F241-9144-4D5F0CA282A8}"/>
              </a:ext>
            </a:extLst>
          </p:cNvPr>
          <p:cNvGrpSpPr/>
          <p:nvPr userDrawn="1"/>
        </p:nvGrpSpPr>
        <p:grpSpPr>
          <a:xfrm>
            <a:off x="257894" y="2777803"/>
            <a:ext cx="361110" cy="371578"/>
            <a:chOff x="383279" y="3833472"/>
            <a:chExt cx="361110" cy="371578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C6DE484C-1179-8F45-8A17-BAF641E84BC7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id="{3E543E61-6DEB-8547-8AE8-08338B8B9218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BC0961D5-807E-F247-9E61-A1A7E3FF9A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63622" b="-3566"/>
          <a:stretch/>
        </p:blipFill>
        <p:spPr>
          <a:xfrm>
            <a:off x="6679815" y="494919"/>
            <a:ext cx="5072664" cy="481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9319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стер-слайд с цифр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2E150D18-2735-3F4F-B656-268860013B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534432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id="{FDDCCA04-AB36-CA40-8858-3A88A598261D}"/>
              </a:ext>
            </a:extLst>
          </p:cNvPr>
          <p:cNvSpPr/>
          <p:nvPr userDrawn="1"/>
        </p:nvSpPr>
        <p:spPr>
          <a:xfrm>
            <a:off x="183232" y="394708"/>
            <a:ext cx="344262" cy="344262"/>
          </a:xfrm>
          <a:prstGeom prst="round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8" name="Полилиния 17">
            <a:extLst>
              <a:ext uri="{FF2B5EF4-FFF2-40B4-BE49-F238E27FC236}">
                <a16:creationId xmlns:a16="http://schemas.microsoft.com/office/drawing/2014/main" id="{E2AFA8CC-E203-3B46-8841-08782D6612F8}"/>
              </a:ext>
            </a:extLst>
          </p:cNvPr>
          <p:cNvSpPr/>
          <p:nvPr userDrawn="1"/>
        </p:nvSpPr>
        <p:spPr>
          <a:xfrm>
            <a:off x="0" y="394708"/>
            <a:ext cx="70734" cy="344262"/>
          </a:xfrm>
          <a:custGeom>
            <a:avLst/>
            <a:gdLst>
              <a:gd name="connsiteX0" fmla="*/ 0 w 70734"/>
              <a:gd name="connsiteY0" fmla="*/ 0 h 344262"/>
              <a:gd name="connsiteX1" fmla="*/ 13356 w 70734"/>
              <a:gd name="connsiteY1" fmla="*/ 0 h 344262"/>
              <a:gd name="connsiteX2" fmla="*/ 70734 w 70734"/>
              <a:gd name="connsiteY2" fmla="*/ 57378 h 344262"/>
              <a:gd name="connsiteX3" fmla="*/ 70734 w 70734"/>
              <a:gd name="connsiteY3" fmla="*/ 286884 h 344262"/>
              <a:gd name="connsiteX4" fmla="*/ 13356 w 70734"/>
              <a:gd name="connsiteY4" fmla="*/ 344262 h 344262"/>
              <a:gd name="connsiteX5" fmla="*/ 0 w 70734"/>
              <a:gd name="connsiteY5" fmla="*/ 344262 h 344262"/>
              <a:gd name="connsiteX6" fmla="*/ 0 w 70734"/>
              <a:gd name="connsiteY6" fmla="*/ 0 h 344262"/>
              <a:gd name="connsiteX0" fmla="*/ 0 w 91440"/>
              <a:gd name="connsiteY0" fmla="*/ 0 h 344262"/>
              <a:gd name="connsiteX1" fmla="*/ 13356 w 91440"/>
              <a:gd name="connsiteY1" fmla="*/ 0 h 344262"/>
              <a:gd name="connsiteX2" fmla="*/ 70734 w 91440"/>
              <a:gd name="connsiteY2" fmla="*/ 57378 h 344262"/>
              <a:gd name="connsiteX3" fmla="*/ 70734 w 91440"/>
              <a:gd name="connsiteY3" fmla="*/ 286884 h 344262"/>
              <a:gd name="connsiteX4" fmla="*/ 13356 w 91440"/>
              <a:gd name="connsiteY4" fmla="*/ 344262 h 344262"/>
              <a:gd name="connsiteX5" fmla="*/ 0 w 91440"/>
              <a:gd name="connsiteY5" fmla="*/ 344262 h 344262"/>
              <a:gd name="connsiteX6" fmla="*/ 91440 w 91440"/>
              <a:gd name="connsiteY6" fmla="*/ 91440 h 344262"/>
              <a:gd name="connsiteX0" fmla="*/ 0 w 70734"/>
              <a:gd name="connsiteY0" fmla="*/ 0 h 344262"/>
              <a:gd name="connsiteX1" fmla="*/ 13356 w 70734"/>
              <a:gd name="connsiteY1" fmla="*/ 0 h 344262"/>
              <a:gd name="connsiteX2" fmla="*/ 70734 w 70734"/>
              <a:gd name="connsiteY2" fmla="*/ 57378 h 344262"/>
              <a:gd name="connsiteX3" fmla="*/ 70734 w 70734"/>
              <a:gd name="connsiteY3" fmla="*/ 286884 h 344262"/>
              <a:gd name="connsiteX4" fmla="*/ 13356 w 70734"/>
              <a:gd name="connsiteY4" fmla="*/ 344262 h 344262"/>
              <a:gd name="connsiteX5" fmla="*/ 0 w 70734"/>
              <a:gd name="connsiteY5" fmla="*/ 344262 h 34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0734" h="344262">
                <a:moveTo>
                  <a:pt x="0" y="0"/>
                </a:moveTo>
                <a:lnTo>
                  <a:pt x="13356" y="0"/>
                </a:lnTo>
                <a:cubicBezTo>
                  <a:pt x="45045" y="0"/>
                  <a:pt x="70734" y="25689"/>
                  <a:pt x="70734" y="57378"/>
                </a:cubicBezTo>
                <a:lnTo>
                  <a:pt x="70734" y="286884"/>
                </a:lnTo>
                <a:cubicBezTo>
                  <a:pt x="70734" y="318573"/>
                  <a:pt x="45045" y="344262"/>
                  <a:pt x="13356" y="344262"/>
                </a:cubicBezTo>
                <a:lnTo>
                  <a:pt x="0" y="344262"/>
                </a:lnTo>
              </a:path>
            </a:pathLst>
          </a:cu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74849930-4011-2E4D-B370-37F0F5CD9D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8" name="Текст 5">
            <a:extLst>
              <a:ext uri="{FF2B5EF4-FFF2-40B4-BE49-F238E27FC236}">
                <a16:creationId xmlns:a16="http://schemas.microsoft.com/office/drawing/2014/main" id="{CD0E9984-F526-164F-82E1-D652506C94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3232" y="394709"/>
            <a:ext cx="344262" cy="344262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FontTx/>
              <a:buNone/>
              <a:defRPr sz="12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18BC89-BBDC-4215-A269-A3D08BC32F65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65429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: белый 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1C3D4F6-7726-1441-A09D-CEAB99ACC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30041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6">
            <a:extLst>
              <a:ext uri="{FF2B5EF4-FFF2-40B4-BE49-F238E27FC236}">
                <a16:creationId xmlns:a16="http://schemas.microsoft.com/office/drawing/2014/main" id="{070C9E5A-B517-1449-BB8A-5068C78113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B0B57636-21D7-FC48-AE04-4F9EC2E1C1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2700671"/>
            <a:ext cx="4693672" cy="553998"/>
          </a:xfrm>
        </p:spPr>
        <p:txBody>
          <a:bodyPr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18" name="Текст 18">
            <a:extLst>
              <a:ext uri="{FF2B5EF4-FFF2-40B4-BE49-F238E27FC236}">
                <a16:creationId xmlns:a16="http://schemas.microsoft.com/office/drawing/2014/main" id="{69633C30-2C18-D74E-859C-06DC04AECB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8516" y="5514975"/>
            <a:ext cx="4693672" cy="249299"/>
          </a:xfrm>
        </p:spPr>
        <p:txBody>
          <a:bodyPr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дпись к заголовку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D2AA8BFC-6053-F241-9144-4D5F0CA282A8}"/>
              </a:ext>
            </a:extLst>
          </p:cNvPr>
          <p:cNvGrpSpPr/>
          <p:nvPr userDrawn="1"/>
        </p:nvGrpSpPr>
        <p:grpSpPr>
          <a:xfrm>
            <a:off x="257894" y="2777803"/>
            <a:ext cx="361110" cy="371578"/>
            <a:chOff x="383279" y="3833472"/>
            <a:chExt cx="361110" cy="371578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C6DE484C-1179-8F45-8A17-BAF641E84BC7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id="{3E543E61-6DEB-8547-8AE8-08338B8B9218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013B0E8-A6E0-644A-8A2B-0E51B9CA064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19004" y="506789"/>
            <a:ext cx="1772883" cy="709153"/>
          </a:xfrm>
          <a:prstGeom prst="rect">
            <a:avLst/>
          </a:prstGeom>
        </p:spPr>
      </p:pic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52B23AF0-2BC4-4A4D-B112-24AF4341256D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22" name="Нашивка 21">
              <a:extLst>
                <a:ext uri="{FF2B5EF4-FFF2-40B4-BE49-F238E27FC236}">
                  <a16:creationId xmlns:a16="http://schemas.microsoft.com/office/drawing/2014/main" id="{23D1430A-213A-A944-9098-6D27BE145501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3" name="Нашивка 22">
              <a:extLst>
                <a:ext uri="{FF2B5EF4-FFF2-40B4-BE49-F238E27FC236}">
                  <a16:creationId xmlns:a16="http://schemas.microsoft.com/office/drawing/2014/main" id="{55809EBE-656D-FC4F-9EF2-732469A03518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07616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градиент и фото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AD6CF53-7820-784C-A38B-3C5230C8D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33691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Текст 4">
            <a:extLst>
              <a:ext uri="{FF2B5EF4-FFF2-40B4-BE49-F238E27FC236}">
                <a16:creationId xmlns:a16="http://schemas.microsoft.com/office/drawing/2014/main" id="{30AFE71A-5FB6-5C40-9034-14FD8517D1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4"/>
            <a:ext cx="5277485" cy="387798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28000" b="1">
                <a:solidFill>
                  <a:schemeClr val="accent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69D28E57-41BD-734F-ABC1-1CE649C7D8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32164" y="-2744"/>
            <a:ext cx="7249436" cy="686348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0 w 7317201"/>
              <a:gd name="connsiteY6" fmla="*/ 22866 h 6844239"/>
              <a:gd name="connsiteX7" fmla="*/ 0 w 7317201"/>
              <a:gd name="connsiteY7" fmla="*/ 0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0 w 7317201"/>
              <a:gd name="connsiteY7" fmla="*/ 0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108048 w 7317201"/>
              <a:gd name="connsiteY4" fmla="*/ 6842708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40129 w 7251887"/>
              <a:gd name="connsiteY5" fmla="*/ 3424239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62688 w 7251887"/>
              <a:gd name="connsiteY5" fmla="*/ 3431775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47888 w 7251886"/>
              <a:gd name="connsiteY0" fmla="*/ 11842 h 6844239"/>
              <a:gd name="connsiteX1" fmla="*/ 7251886 w 7251886"/>
              <a:gd name="connsiteY1" fmla="*/ 0 h 6844239"/>
              <a:gd name="connsiteX2" fmla="*/ 7251886 w 7251886"/>
              <a:gd name="connsiteY2" fmla="*/ 6844239 h 6844239"/>
              <a:gd name="connsiteX3" fmla="*/ 48420 w 7251886"/>
              <a:gd name="connsiteY3" fmla="*/ 6844239 h 6844239"/>
              <a:gd name="connsiteX4" fmla="*/ 42733 w 7251886"/>
              <a:gd name="connsiteY4" fmla="*/ 6842708 h 6844239"/>
              <a:gd name="connsiteX5" fmla="*/ 962687 w 7251886"/>
              <a:gd name="connsiteY5" fmla="*/ 3431775 h 6844239"/>
              <a:gd name="connsiteX6" fmla="*/ 0 w 7251886"/>
              <a:gd name="connsiteY6" fmla="*/ 16945 h 6844239"/>
              <a:gd name="connsiteX7" fmla="*/ 47888 w 7251886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24376 w 7213575"/>
              <a:gd name="connsiteY5" fmla="*/ 3431775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13575" h="6844239">
                <a:moveTo>
                  <a:pt x="9577" y="11842"/>
                </a:moveTo>
                <a:lnTo>
                  <a:pt x="7213575" y="0"/>
                </a:lnTo>
                <a:lnTo>
                  <a:pt x="7213575" y="6844239"/>
                </a:lnTo>
                <a:lnTo>
                  <a:pt x="10109" y="6844239"/>
                </a:lnTo>
                <a:lnTo>
                  <a:pt x="4422" y="6842708"/>
                </a:lnTo>
                <a:lnTo>
                  <a:pt x="924376" y="3431775"/>
                </a:lnTo>
                <a:lnTo>
                  <a:pt x="0" y="21745"/>
                </a:lnTo>
                <a:cubicBezTo>
                  <a:pt x="0" y="20044"/>
                  <a:pt x="9577" y="13543"/>
                  <a:pt x="9577" y="11842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3" name="Заголовок 16">
            <a:extLst>
              <a:ext uri="{FF2B5EF4-FFF2-40B4-BE49-F238E27FC236}">
                <a16:creationId xmlns:a16="http://schemas.microsoft.com/office/drawing/2014/main" id="{F18042FC-56AC-C44F-95AD-7D5E0BB4B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3749040"/>
            <a:ext cx="3896360" cy="997196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8">
            <a:extLst>
              <a:ext uri="{FF2B5EF4-FFF2-40B4-BE49-F238E27FC236}">
                <a16:creationId xmlns:a16="http://schemas.microsoft.com/office/drawing/2014/main" id="{76499D1E-1954-064E-AFEC-7A917D0853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254362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AA212E81-91BF-2B42-BF5F-9AC90E6B8894}"/>
              </a:ext>
            </a:extLst>
          </p:cNvPr>
          <p:cNvGrpSpPr/>
          <p:nvPr userDrawn="1"/>
        </p:nvGrpSpPr>
        <p:grpSpPr>
          <a:xfrm>
            <a:off x="227165" y="3794283"/>
            <a:ext cx="361110" cy="371578"/>
            <a:chOff x="383279" y="3833472"/>
            <a:chExt cx="361110" cy="371578"/>
          </a:xfrm>
        </p:grpSpPr>
        <p:sp>
          <p:nvSpPr>
            <p:cNvPr id="31" name="Нашивка 30">
              <a:extLst>
                <a:ext uri="{FF2B5EF4-FFF2-40B4-BE49-F238E27FC236}">
                  <a16:creationId xmlns:a16="http://schemas.microsoft.com/office/drawing/2014/main" id="{3BF1738A-8A92-1244-AA31-5698F47C8405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2" name="Нашивка 31">
              <a:extLst>
                <a:ext uri="{FF2B5EF4-FFF2-40B4-BE49-F238E27FC236}">
                  <a16:creationId xmlns:a16="http://schemas.microsoft.com/office/drawing/2014/main" id="{0B0B06F9-17C3-CE4C-91B9-5DD6284CA4EE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7BE2C2E8-BBD4-4E47-946E-23E9A3C90D7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441604F5-8083-F24B-900A-987678A018EA}"/>
              </a:ext>
            </a:extLst>
          </p:cNvPr>
          <p:cNvGrpSpPr/>
          <p:nvPr userDrawn="1"/>
        </p:nvGrpSpPr>
        <p:grpSpPr>
          <a:xfrm>
            <a:off x="4731039" y="0"/>
            <a:ext cx="1127505" cy="6876000"/>
            <a:chOff x="3945699" y="0"/>
            <a:chExt cx="1127505" cy="6876000"/>
          </a:xfrm>
        </p:grpSpPr>
        <p:sp>
          <p:nvSpPr>
            <p:cNvPr id="20" name="Нашивка 19">
              <a:extLst>
                <a:ext uri="{FF2B5EF4-FFF2-40B4-BE49-F238E27FC236}">
                  <a16:creationId xmlns:a16="http://schemas.microsoft.com/office/drawing/2014/main" id="{AE086509-BF3F-2C42-9698-208D65AE9846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1" name="Нашивка 20">
              <a:extLst>
                <a:ext uri="{FF2B5EF4-FFF2-40B4-BE49-F238E27FC236}">
                  <a16:creationId xmlns:a16="http://schemas.microsoft.com/office/drawing/2014/main" id="{500B931A-C255-0D46-8E5C-6A313DB87652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94923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стрелка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FC9CA3A5-9C66-B444-A2F9-618BFE8D5F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01180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Текст 4">
            <a:extLst>
              <a:ext uri="{FF2B5EF4-FFF2-40B4-BE49-F238E27FC236}">
                <a16:creationId xmlns:a16="http://schemas.microsoft.com/office/drawing/2014/main" id="{CB56F393-73DB-624A-8FB0-1CD2F3D77C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2270" y="1733258"/>
            <a:ext cx="5119944" cy="387798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lang="ru-RU" sz="28000" b="1" kern="1200" dirty="0">
                <a:gradFill flip="none" rotWithShape="1">
                  <a:gsLst>
                    <a:gs pos="0">
                      <a:schemeClr val="accent1"/>
                    </a:gs>
                    <a:gs pos="76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№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D6E650C-492A-BD4F-B0A8-5E5FC435AE6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8769" y="486744"/>
            <a:ext cx="1772883" cy="709153"/>
          </a:xfrm>
          <a:prstGeom prst="rect">
            <a:avLst/>
          </a:prstGeom>
        </p:spPr>
      </p:pic>
      <p:sp>
        <p:nvSpPr>
          <p:cNvPr id="13" name="Заголовок 16">
            <a:extLst>
              <a:ext uri="{FF2B5EF4-FFF2-40B4-BE49-F238E27FC236}">
                <a16:creationId xmlns:a16="http://schemas.microsoft.com/office/drawing/2014/main" id="{F18042FC-56AC-C44F-95AD-7D5E0BB4B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3751982"/>
            <a:ext cx="3896360" cy="997196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8">
            <a:extLst>
              <a:ext uri="{FF2B5EF4-FFF2-40B4-BE49-F238E27FC236}">
                <a16:creationId xmlns:a16="http://schemas.microsoft.com/office/drawing/2014/main" id="{76499D1E-1954-064E-AFEC-7A917D0853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3104" y="5227309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D590FFB3-8D48-E242-8FE6-15E6CC4F4BAC}"/>
              </a:ext>
            </a:extLst>
          </p:cNvPr>
          <p:cNvGrpSpPr/>
          <p:nvPr userDrawn="1"/>
        </p:nvGrpSpPr>
        <p:grpSpPr>
          <a:xfrm>
            <a:off x="227165" y="3794283"/>
            <a:ext cx="361110" cy="371578"/>
            <a:chOff x="383279" y="3833472"/>
            <a:chExt cx="361110" cy="371578"/>
          </a:xfrm>
        </p:grpSpPr>
        <p:sp>
          <p:nvSpPr>
            <p:cNvPr id="25" name="Нашивка 24">
              <a:extLst>
                <a:ext uri="{FF2B5EF4-FFF2-40B4-BE49-F238E27FC236}">
                  <a16:creationId xmlns:a16="http://schemas.microsoft.com/office/drawing/2014/main" id="{A8CE21C9-4736-6E47-B2D3-82A9023A57BA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6" name="Нашивка 25">
              <a:extLst>
                <a:ext uri="{FF2B5EF4-FFF2-40B4-BE49-F238E27FC236}">
                  <a16:creationId xmlns:a16="http://schemas.microsoft.com/office/drawing/2014/main" id="{07203397-8F21-4B4F-AC1C-F867ADC109D7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15" name="Рисунок 21">
            <a:extLst>
              <a:ext uri="{FF2B5EF4-FFF2-40B4-BE49-F238E27FC236}">
                <a16:creationId xmlns:a16="http://schemas.microsoft.com/office/drawing/2014/main" id="{DF856EB9-ACD9-C44F-A99C-A26731BDB0E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32164" y="-15253"/>
            <a:ext cx="7259836" cy="6873254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0 w 7317201"/>
              <a:gd name="connsiteY6" fmla="*/ 22866 h 6844239"/>
              <a:gd name="connsiteX7" fmla="*/ 0 w 7317201"/>
              <a:gd name="connsiteY7" fmla="*/ 0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0 w 7317201"/>
              <a:gd name="connsiteY7" fmla="*/ 0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108048 w 7317201"/>
              <a:gd name="connsiteY4" fmla="*/ 6842708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40129 w 7251887"/>
              <a:gd name="connsiteY5" fmla="*/ 3424239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62688 w 7251887"/>
              <a:gd name="connsiteY5" fmla="*/ 3431775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47888 w 7251886"/>
              <a:gd name="connsiteY0" fmla="*/ 11842 h 6844239"/>
              <a:gd name="connsiteX1" fmla="*/ 7251886 w 7251886"/>
              <a:gd name="connsiteY1" fmla="*/ 0 h 6844239"/>
              <a:gd name="connsiteX2" fmla="*/ 7251886 w 7251886"/>
              <a:gd name="connsiteY2" fmla="*/ 6844239 h 6844239"/>
              <a:gd name="connsiteX3" fmla="*/ 48420 w 7251886"/>
              <a:gd name="connsiteY3" fmla="*/ 6844239 h 6844239"/>
              <a:gd name="connsiteX4" fmla="*/ 42733 w 7251886"/>
              <a:gd name="connsiteY4" fmla="*/ 6842708 h 6844239"/>
              <a:gd name="connsiteX5" fmla="*/ 962687 w 7251886"/>
              <a:gd name="connsiteY5" fmla="*/ 3431775 h 6844239"/>
              <a:gd name="connsiteX6" fmla="*/ 0 w 7251886"/>
              <a:gd name="connsiteY6" fmla="*/ 16945 h 6844239"/>
              <a:gd name="connsiteX7" fmla="*/ 47888 w 7251886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24376 w 7213575"/>
              <a:gd name="connsiteY5" fmla="*/ 3431775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20278 w 7213575"/>
              <a:gd name="connsiteY5" fmla="*/ 3423560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15340 w 7213575"/>
              <a:gd name="connsiteY5" fmla="*/ 3433457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13575" h="6844239">
                <a:moveTo>
                  <a:pt x="9577" y="11842"/>
                </a:moveTo>
                <a:lnTo>
                  <a:pt x="7213575" y="0"/>
                </a:lnTo>
                <a:lnTo>
                  <a:pt x="7213575" y="6844239"/>
                </a:lnTo>
                <a:lnTo>
                  <a:pt x="10109" y="6844239"/>
                </a:lnTo>
                <a:lnTo>
                  <a:pt x="4422" y="6842708"/>
                </a:lnTo>
                <a:lnTo>
                  <a:pt x="915340" y="3433457"/>
                </a:lnTo>
                <a:cubicBezTo>
                  <a:pt x="608581" y="2299519"/>
                  <a:pt x="306759" y="1155683"/>
                  <a:pt x="0" y="21745"/>
                </a:cubicBezTo>
                <a:cubicBezTo>
                  <a:pt x="0" y="20044"/>
                  <a:pt x="9577" y="13543"/>
                  <a:pt x="9577" y="11842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C80B62D6-2484-3E43-8288-D3E485BA4A96}"/>
              </a:ext>
            </a:extLst>
          </p:cNvPr>
          <p:cNvGrpSpPr/>
          <p:nvPr userDrawn="1"/>
        </p:nvGrpSpPr>
        <p:grpSpPr>
          <a:xfrm>
            <a:off x="4731039" y="0"/>
            <a:ext cx="1127505" cy="6876000"/>
            <a:chOff x="3945699" y="0"/>
            <a:chExt cx="1127505" cy="6876000"/>
          </a:xfrm>
        </p:grpSpPr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52DE0869-8416-BA4A-9164-5F32391EA311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id="{D845C46B-DEC4-EA46-950F-0DEE2B3A1E5C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19145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прозрачный градиент и фото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10FA3018-09DA-9046-A283-A744136617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9392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Рисунок 3">
            <a:extLst>
              <a:ext uri="{FF2B5EF4-FFF2-40B4-BE49-F238E27FC236}">
                <a16:creationId xmlns:a16="http://schemas.microsoft.com/office/drawing/2014/main" id="{EAA59F38-4A00-D249-99FC-DF9B2A384A0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5F6BAC7D-516D-B24C-B12C-D28B883ACB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3"/>
            <a:ext cx="5277485" cy="387798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28000" b="1">
                <a:solidFill>
                  <a:schemeClr val="bg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D6E650C-492A-BD4F-B0A8-5E5FC435AE6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8769" y="486744"/>
            <a:ext cx="1772883" cy="709153"/>
          </a:xfrm>
          <a:prstGeom prst="rect">
            <a:avLst/>
          </a:prstGeom>
        </p:spPr>
      </p:pic>
      <p:sp>
        <p:nvSpPr>
          <p:cNvPr id="7" name="Заголовок 16">
            <a:extLst>
              <a:ext uri="{FF2B5EF4-FFF2-40B4-BE49-F238E27FC236}">
                <a16:creationId xmlns:a16="http://schemas.microsoft.com/office/drawing/2014/main" id="{AA45FD41-ED9B-2F49-A696-74BD5A4C4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3832125"/>
            <a:ext cx="5277484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18">
            <a:extLst>
              <a:ext uri="{FF2B5EF4-FFF2-40B4-BE49-F238E27FC236}">
                <a16:creationId xmlns:a16="http://schemas.microsoft.com/office/drawing/2014/main" id="{2A829139-1830-7D4D-A0FF-A50153AC606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305802"/>
            <a:ext cx="530100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733519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плашка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9864EF1-02FA-C447-B4C4-82B69331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07546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0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3">
            <a:extLst>
              <a:ext uri="{FF2B5EF4-FFF2-40B4-BE49-F238E27FC236}">
                <a16:creationId xmlns:a16="http://schemas.microsoft.com/office/drawing/2014/main" id="{50A76EE4-D682-BF43-8DAE-526CC49CB11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D6E650C-492A-BD4F-B0A8-5E5FC435AE6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8769" y="486744"/>
            <a:ext cx="1772883" cy="709153"/>
          </a:xfrm>
          <a:prstGeom prst="rect">
            <a:avLst/>
          </a:prstGeom>
        </p:spPr>
      </p:pic>
      <p:sp>
        <p:nvSpPr>
          <p:cNvPr id="8" name="Текст 18">
            <a:extLst>
              <a:ext uri="{FF2B5EF4-FFF2-40B4-BE49-F238E27FC236}">
                <a16:creationId xmlns:a16="http://schemas.microsoft.com/office/drawing/2014/main" id="{E2322C29-2DF1-A041-80A9-F990F758FB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8515" y="5456298"/>
            <a:ext cx="5301008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Заголовок 16">
            <a:extLst>
              <a:ext uri="{FF2B5EF4-FFF2-40B4-BE49-F238E27FC236}">
                <a16:creationId xmlns:a16="http://schemas.microsoft.com/office/drawing/2014/main" id="{19D1D188-B0FF-6144-9237-0FD677A02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4172597"/>
            <a:ext cx="5277485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Текст 4">
            <a:extLst>
              <a:ext uri="{FF2B5EF4-FFF2-40B4-BE49-F238E27FC236}">
                <a16:creationId xmlns:a16="http://schemas.microsoft.com/office/drawing/2014/main" id="{7E6D6720-D0DE-4445-A813-BBF8CA0129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4096" y="3028789"/>
            <a:ext cx="4063878" cy="121879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88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</p:spTree>
    <p:extLst>
      <p:ext uri="{BB962C8B-B14F-4D97-AF65-F5344CB8AC3E}">
        <p14:creationId xmlns:p14="http://schemas.microsoft.com/office/powerpoint/2010/main" val="19365980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: градиент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25735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11F5C4-C9AA-4A48-8171-7867F8EF8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71E0D75-1C9A-D94E-8A7E-42607AF206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sp>
        <p:nvSpPr>
          <p:cNvPr id="9" name="Текст 4">
            <a:extLst>
              <a:ext uri="{FF2B5EF4-FFF2-40B4-BE49-F238E27FC236}">
                <a16:creationId xmlns:a16="http://schemas.microsoft.com/office/drawing/2014/main" id="{0E13A231-B046-1F4B-A36E-3CC5FB7710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3"/>
            <a:ext cx="5277485" cy="3877985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28000" b="1">
                <a:solidFill>
                  <a:schemeClr val="accent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id="{DFB5AB00-E3EA-B64E-858C-946031C610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4" y="4361321"/>
            <a:ext cx="10554971" cy="997196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 </a:t>
            </a:r>
            <a:br>
              <a:rPr lang="ru-RU" dirty="0"/>
            </a:br>
            <a:endParaRPr lang="ru-RU" dirty="0"/>
          </a:p>
        </p:txBody>
      </p:sp>
      <p:sp>
        <p:nvSpPr>
          <p:cNvPr id="15" name="Текст 18">
            <a:extLst>
              <a:ext uri="{FF2B5EF4-FFF2-40B4-BE49-F238E27FC236}">
                <a16:creationId xmlns:a16="http://schemas.microsoft.com/office/drawing/2014/main" id="{9F64DCFC-FC3B-7440-97A3-1C74EC8FBA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461594"/>
            <a:ext cx="10602018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08AF1FF8-951E-9B4D-96E8-F9535A1B1717}"/>
              </a:ext>
            </a:extLst>
          </p:cNvPr>
          <p:cNvGrpSpPr/>
          <p:nvPr userDrawn="1"/>
        </p:nvGrpSpPr>
        <p:grpSpPr>
          <a:xfrm>
            <a:off x="227165" y="4395174"/>
            <a:ext cx="361110" cy="371578"/>
            <a:chOff x="383279" y="3833472"/>
            <a:chExt cx="361110" cy="371578"/>
          </a:xfrm>
        </p:grpSpPr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id="{DC372A10-83C5-DC45-8F47-01EF8DA40D2B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0" name="Нашивка 19">
              <a:extLst>
                <a:ext uri="{FF2B5EF4-FFF2-40B4-BE49-F238E27FC236}">
                  <a16:creationId xmlns:a16="http://schemas.microsoft.com/office/drawing/2014/main" id="{7F5F3CBD-40CD-B34C-92C5-D4244B2DBEC3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66866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: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7EE458F2-981F-5B4D-AD84-FF20F4593E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5728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Текст 4">
            <a:extLst>
              <a:ext uri="{FF2B5EF4-FFF2-40B4-BE49-F238E27FC236}">
                <a16:creationId xmlns:a16="http://schemas.microsoft.com/office/drawing/2014/main" id="{5B92850A-0211-1144-8EB9-6091374CCD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2270" y="1077938"/>
            <a:ext cx="5119944" cy="3877985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lang="ru-RU" sz="28000" b="1" kern="1200" dirty="0">
                <a:gradFill flip="none" rotWithShape="1">
                  <a:gsLst>
                    <a:gs pos="0">
                      <a:schemeClr val="accent1"/>
                    </a:gs>
                    <a:gs pos="76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№</a:t>
            </a:r>
          </a:p>
        </p:txBody>
      </p:sp>
      <p:sp>
        <p:nvSpPr>
          <p:cNvPr id="7" name="Заголовок 16">
            <a:extLst>
              <a:ext uri="{FF2B5EF4-FFF2-40B4-BE49-F238E27FC236}">
                <a16:creationId xmlns:a16="http://schemas.microsoft.com/office/drawing/2014/main" id="{BE6F29DE-28D2-394F-821C-FB76FDE14A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3664249"/>
            <a:ext cx="6062345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18">
            <a:extLst>
              <a:ext uri="{FF2B5EF4-FFF2-40B4-BE49-F238E27FC236}">
                <a16:creationId xmlns:a16="http://schemas.microsoft.com/office/drawing/2014/main" id="{B447CD9E-79AA-F841-B913-4DF677CF25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4" y="4926106"/>
            <a:ext cx="606234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5F77A769-4F6D-8F4E-8FA7-F0C592D67851}"/>
              </a:ext>
            </a:extLst>
          </p:cNvPr>
          <p:cNvGrpSpPr/>
          <p:nvPr userDrawn="1"/>
        </p:nvGrpSpPr>
        <p:grpSpPr>
          <a:xfrm>
            <a:off x="227165" y="3714180"/>
            <a:ext cx="361110" cy="371578"/>
            <a:chOff x="383279" y="3833472"/>
            <a:chExt cx="361110" cy="371578"/>
          </a:xfrm>
        </p:grpSpPr>
        <p:sp>
          <p:nvSpPr>
            <p:cNvPr id="30" name="Нашивка 29">
              <a:extLst>
                <a:ext uri="{FF2B5EF4-FFF2-40B4-BE49-F238E27FC236}">
                  <a16:creationId xmlns:a16="http://schemas.microsoft.com/office/drawing/2014/main" id="{55DD70D4-EC10-404E-A2F0-BDD074B844BE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1" name="Нашивка 30">
              <a:extLst>
                <a:ext uri="{FF2B5EF4-FFF2-40B4-BE49-F238E27FC236}">
                  <a16:creationId xmlns:a16="http://schemas.microsoft.com/office/drawing/2014/main" id="{C7099F1E-2038-F640-A9BD-C832B7361CCB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3D17A70-2D70-8D49-944B-DCA00AE7B8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63622" b="-3566"/>
          <a:stretch/>
        </p:blipFill>
        <p:spPr>
          <a:xfrm>
            <a:off x="7720162" y="2598039"/>
            <a:ext cx="4063046" cy="3857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6500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: белый 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32936E7-298E-344F-86EF-0BEB754737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4341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Текст 4">
            <a:extLst>
              <a:ext uri="{FF2B5EF4-FFF2-40B4-BE49-F238E27FC236}">
                <a16:creationId xmlns:a16="http://schemas.microsoft.com/office/drawing/2014/main" id="{5B92850A-0211-1144-8EB9-6091374CCD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2270" y="1077938"/>
            <a:ext cx="5119944" cy="3877985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lang="ru-RU" sz="28000" b="1" kern="1200" dirty="0">
                <a:gradFill flip="none" rotWithShape="1">
                  <a:gsLst>
                    <a:gs pos="0">
                      <a:schemeClr val="accent1"/>
                    </a:gs>
                    <a:gs pos="76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№</a:t>
            </a:r>
          </a:p>
        </p:txBody>
      </p:sp>
      <p:sp>
        <p:nvSpPr>
          <p:cNvPr id="7" name="Заголовок 16">
            <a:extLst>
              <a:ext uri="{FF2B5EF4-FFF2-40B4-BE49-F238E27FC236}">
                <a16:creationId xmlns:a16="http://schemas.microsoft.com/office/drawing/2014/main" id="{BE6F29DE-28D2-394F-821C-FB76FDE14A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3664249"/>
            <a:ext cx="6062345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18">
            <a:extLst>
              <a:ext uri="{FF2B5EF4-FFF2-40B4-BE49-F238E27FC236}">
                <a16:creationId xmlns:a16="http://schemas.microsoft.com/office/drawing/2014/main" id="{B447CD9E-79AA-F841-B913-4DF677CF25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4" y="4926106"/>
            <a:ext cx="606234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5F77A769-4F6D-8F4E-8FA7-F0C592D67851}"/>
              </a:ext>
            </a:extLst>
          </p:cNvPr>
          <p:cNvGrpSpPr/>
          <p:nvPr userDrawn="1"/>
        </p:nvGrpSpPr>
        <p:grpSpPr>
          <a:xfrm>
            <a:off x="227165" y="3714180"/>
            <a:ext cx="361110" cy="371578"/>
            <a:chOff x="383279" y="3833472"/>
            <a:chExt cx="361110" cy="371578"/>
          </a:xfrm>
        </p:grpSpPr>
        <p:sp>
          <p:nvSpPr>
            <p:cNvPr id="30" name="Нашивка 29">
              <a:extLst>
                <a:ext uri="{FF2B5EF4-FFF2-40B4-BE49-F238E27FC236}">
                  <a16:creationId xmlns:a16="http://schemas.microsoft.com/office/drawing/2014/main" id="{55DD70D4-EC10-404E-A2F0-BDD074B844BE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1" name="Нашивка 30">
              <a:extLst>
                <a:ext uri="{FF2B5EF4-FFF2-40B4-BE49-F238E27FC236}">
                  <a16:creationId xmlns:a16="http://schemas.microsoft.com/office/drawing/2014/main" id="{C7099F1E-2038-F640-A9BD-C832B7361CCB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6B36374A-92E4-084C-AA09-6CFE35648EF5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11" name="Нашивка 10">
              <a:extLst>
                <a:ext uri="{FF2B5EF4-FFF2-40B4-BE49-F238E27FC236}">
                  <a16:creationId xmlns:a16="http://schemas.microsoft.com/office/drawing/2014/main" id="{269A1E4D-FBE3-D747-9ADC-5846C2844092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2" name="Нашивка 11">
              <a:extLst>
                <a:ext uri="{FF2B5EF4-FFF2-40B4-BE49-F238E27FC236}">
                  <a16:creationId xmlns:a16="http://schemas.microsoft.com/office/drawing/2014/main" id="{E3F5A0E7-C5AF-7747-BCCB-9AAB760EA313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152948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F85B60A3-FE48-2E49-B5BC-9634550B6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35270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307D7406-D609-3844-9FFD-74697F859819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6836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04C3F334-6B2E-0F46-9A34-5391205468A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0243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496EC26-6A0F-704E-807F-0ADDC92ED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42275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0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878" y="402822"/>
            <a:ext cx="4763368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4602163" y="1208544"/>
            <a:ext cx="1541261" cy="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E53D1804-0EFE-AB4F-B2DB-B9BB9A80242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4602163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28600" indent="-22860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en-US" dirty="0"/>
              <a:t> </a:t>
            </a:r>
            <a:r>
              <a:rPr lang="ru-RU" dirty="0"/>
              <a:t>Изображение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57638FCE-C738-8243-9156-EC65C3E1F059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6836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F3B33A8-9A4D-0E45-9A25-1BB082DBFAE4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412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2/3 заливки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331CB090-1FE3-384B-9D86-A7F938FB7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7273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F31A9401-66B5-EB45-B593-DBE86B2D64EB}"/>
              </a:ext>
            </a:extLst>
          </p:cNvPr>
          <p:cNvGrpSpPr/>
          <p:nvPr userDrawn="1"/>
        </p:nvGrpSpPr>
        <p:grpSpPr>
          <a:xfrm>
            <a:off x="3649466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4" name="Полилиния 13">
            <a:extLst>
              <a:ext uri="{FF2B5EF4-FFF2-40B4-BE49-F238E27FC236}">
                <a16:creationId xmlns:a16="http://schemas.microsoft.com/office/drawing/2014/main" id="{96EE0B24-B8A3-0548-8081-25AD766E440C}"/>
              </a:ext>
            </a:extLst>
          </p:cNvPr>
          <p:cNvSpPr/>
          <p:nvPr userDrawn="1"/>
        </p:nvSpPr>
        <p:spPr>
          <a:xfrm>
            <a:off x="3867461" y="0"/>
            <a:ext cx="8324539" cy="6858000"/>
          </a:xfrm>
          <a:custGeom>
            <a:avLst/>
            <a:gdLst>
              <a:gd name="connsiteX0" fmla="*/ 0 w 8399490"/>
              <a:gd name="connsiteY0" fmla="*/ 0 h 6858000"/>
              <a:gd name="connsiteX1" fmla="*/ 1312888 w 8399490"/>
              <a:gd name="connsiteY1" fmla="*/ 0 h 6858000"/>
              <a:gd name="connsiteX2" fmla="*/ 7104699 w 8399490"/>
              <a:gd name="connsiteY2" fmla="*/ 0 h 6858000"/>
              <a:gd name="connsiteX3" fmla="*/ 8399490 w 8399490"/>
              <a:gd name="connsiteY3" fmla="*/ 0 h 6858000"/>
              <a:gd name="connsiteX4" fmla="*/ 8399490 w 8399490"/>
              <a:gd name="connsiteY4" fmla="*/ 6858000 h 6858000"/>
              <a:gd name="connsiteX5" fmla="*/ 8399489 w 8399490"/>
              <a:gd name="connsiteY5" fmla="*/ 6858000 h 6858000"/>
              <a:gd name="connsiteX6" fmla="*/ 1312888 w 8399490"/>
              <a:gd name="connsiteY6" fmla="*/ 6858000 h 6858000"/>
              <a:gd name="connsiteX7" fmla="*/ 1294790 w 839949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99490" h="6858000">
                <a:moveTo>
                  <a:pt x="0" y="0"/>
                </a:moveTo>
                <a:lnTo>
                  <a:pt x="1312888" y="0"/>
                </a:lnTo>
                <a:lnTo>
                  <a:pt x="7104699" y="0"/>
                </a:lnTo>
                <a:lnTo>
                  <a:pt x="8399490" y="0"/>
                </a:lnTo>
                <a:lnTo>
                  <a:pt x="8399490" y="6858000"/>
                </a:lnTo>
                <a:lnTo>
                  <a:pt x="8399489" y="6858000"/>
                </a:lnTo>
                <a:lnTo>
                  <a:pt x="1312888" y="6858000"/>
                </a:lnTo>
                <a:lnTo>
                  <a:pt x="1294790" y="685800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FAE0686-3352-DF49-A0BE-4036C672982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8" name="Заголовок 16">
            <a:extLst>
              <a:ext uri="{FF2B5EF4-FFF2-40B4-BE49-F238E27FC236}">
                <a16:creationId xmlns:a16="http://schemas.microsoft.com/office/drawing/2014/main" id="{4DAFD9ED-F51F-7946-A209-364F853CB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7" y="402822"/>
            <a:ext cx="2630329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C251DC40-B978-F64A-9CDE-4F61D94F85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3833627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29FF4D68-3FF9-5B44-B685-123DD897E6E0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6EEBFA74-84E0-7045-B360-ADA292591A7A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CB1F8A37-9FB8-0B48-B9A8-FFF00F4567C8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9591918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то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A6AF37E-99FD-FC46-BDAD-F5FBCA00C5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189251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FD9F2DAB-4652-2C46-B2B9-DA033A180894}"/>
              </a:ext>
            </a:extLst>
          </p:cNvPr>
          <p:cNvSpPr/>
          <p:nvPr userDrawn="1"/>
        </p:nvSpPr>
        <p:spPr>
          <a:xfrm>
            <a:off x="814782" y="1352890"/>
            <a:ext cx="5474806" cy="4860000"/>
          </a:xfrm>
          <a:custGeom>
            <a:avLst/>
            <a:gdLst>
              <a:gd name="connsiteX0" fmla="*/ 2827536 w 5474806"/>
              <a:gd name="connsiteY0" fmla="*/ 0 h 4867096"/>
              <a:gd name="connsiteX1" fmla="*/ 4627044 w 5474806"/>
              <a:gd name="connsiteY1" fmla="*/ 0 h 4867096"/>
              <a:gd name="connsiteX2" fmla="*/ 5474806 w 5474806"/>
              <a:gd name="connsiteY2" fmla="*/ 2433549 h 4867096"/>
              <a:gd name="connsiteX3" fmla="*/ 4627044 w 5474806"/>
              <a:gd name="connsiteY3" fmla="*/ 4867096 h 4867096"/>
              <a:gd name="connsiteX4" fmla="*/ 4022173 w 5474806"/>
              <a:gd name="connsiteY4" fmla="*/ 4867096 h 4867096"/>
              <a:gd name="connsiteX5" fmla="*/ 2827536 w 5474806"/>
              <a:gd name="connsiteY5" fmla="*/ 4867096 h 4867096"/>
              <a:gd name="connsiteX6" fmla="*/ 654469 w 5474806"/>
              <a:gd name="connsiteY6" fmla="*/ 4867096 h 4867096"/>
              <a:gd name="connsiteX7" fmla="*/ 648540 w 5474806"/>
              <a:gd name="connsiteY7" fmla="*/ 4866307 h 4867096"/>
              <a:gd name="connsiteX8" fmla="*/ 133772 w 5474806"/>
              <a:gd name="connsiteY8" fmla="*/ 4866307 h 4867096"/>
              <a:gd name="connsiteX9" fmla="*/ 0 w 5474806"/>
              <a:gd name="connsiteY9" fmla="*/ 4732535 h 4867096"/>
              <a:gd name="connsiteX10" fmla="*/ 0 w 5474806"/>
              <a:gd name="connsiteY10" fmla="*/ 134562 h 4867096"/>
              <a:gd name="connsiteX11" fmla="*/ 133772 w 5474806"/>
              <a:gd name="connsiteY11" fmla="*/ 790 h 4867096"/>
              <a:gd name="connsiteX12" fmla="*/ 2827536 w 5474806"/>
              <a:gd name="connsiteY12" fmla="*/ 790 h 4867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474806" h="4867096">
                <a:moveTo>
                  <a:pt x="2827536" y="0"/>
                </a:moveTo>
                <a:lnTo>
                  <a:pt x="4627044" y="0"/>
                </a:lnTo>
                <a:lnTo>
                  <a:pt x="5474806" y="2433549"/>
                </a:lnTo>
                <a:lnTo>
                  <a:pt x="4627044" y="4867096"/>
                </a:lnTo>
                <a:lnTo>
                  <a:pt x="4022173" y="4867096"/>
                </a:lnTo>
                <a:lnTo>
                  <a:pt x="2827536" y="4867096"/>
                </a:lnTo>
                <a:lnTo>
                  <a:pt x="654469" y="4867096"/>
                </a:lnTo>
                <a:lnTo>
                  <a:pt x="648540" y="4866307"/>
                </a:lnTo>
                <a:lnTo>
                  <a:pt x="133772" y="4866307"/>
                </a:lnTo>
                <a:cubicBezTo>
                  <a:pt x="59892" y="4866307"/>
                  <a:pt x="0" y="4806415"/>
                  <a:pt x="0" y="4732535"/>
                </a:cubicBezTo>
                <a:lnTo>
                  <a:pt x="0" y="134562"/>
                </a:lnTo>
                <a:cubicBezTo>
                  <a:pt x="0" y="60682"/>
                  <a:pt x="59892" y="790"/>
                  <a:pt x="133772" y="790"/>
                </a:cubicBezTo>
                <a:lnTo>
                  <a:pt x="2827536" y="790"/>
                </a:lnTo>
                <a:close/>
              </a:path>
            </a:pathLst>
          </a:custGeom>
          <a:solidFill>
            <a:srgbClr val="F7F7F7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ECCE6E81-B6E0-B246-8EAB-96ED5E33953B}"/>
              </a:ext>
            </a:extLst>
          </p:cNvPr>
          <p:cNvGrpSpPr/>
          <p:nvPr userDrawn="1"/>
        </p:nvGrpSpPr>
        <p:grpSpPr>
          <a:xfrm>
            <a:off x="5338119" y="1347617"/>
            <a:ext cx="1210963" cy="4859337"/>
            <a:chOff x="5313405" y="1347617"/>
            <a:chExt cx="1210963" cy="4859337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F8CBEEC2-B7F4-3944-8945-A2A1A2919CE6}"/>
                </a:ext>
              </a:extLst>
            </p:cNvPr>
            <p:cNvSpPr/>
            <p:nvPr/>
          </p:nvSpPr>
          <p:spPr>
            <a:xfrm>
              <a:off x="5436973" y="1347617"/>
              <a:ext cx="1087395" cy="4859337"/>
            </a:xfrm>
            <a:prstGeom prst="chevron">
              <a:avLst>
                <a:gd name="adj" fmla="val 87552"/>
              </a:avLst>
            </a:prstGeom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118A6904-EFD3-6D42-9C54-7AD235004CD4}"/>
                </a:ext>
              </a:extLst>
            </p:cNvPr>
            <p:cNvSpPr/>
            <p:nvPr/>
          </p:nvSpPr>
          <p:spPr>
            <a:xfrm>
              <a:off x="5313405" y="1347617"/>
              <a:ext cx="1087395" cy="4859337"/>
            </a:xfrm>
            <a:prstGeom prst="chevron">
              <a:avLst>
                <a:gd name="adj" fmla="val 87552"/>
              </a:avLst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C8B122AB-132B-6A45-8685-822F9C5231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597611" y="1344613"/>
            <a:ext cx="5786353" cy="4862512"/>
          </a:xfrm>
          <a:custGeom>
            <a:avLst/>
            <a:gdLst>
              <a:gd name="connsiteX0" fmla="*/ 0 w 5786353"/>
              <a:gd name="connsiteY0" fmla="*/ 0 h 4862512"/>
              <a:gd name="connsiteX1" fmla="*/ 5622301 w 5786353"/>
              <a:gd name="connsiteY1" fmla="*/ 0 h 4862512"/>
              <a:gd name="connsiteX2" fmla="*/ 5686749 w 5786353"/>
              <a:gd name="connsiteY2" fmla="*/ 13011 h 4862512"/>
              <a:gd name="connsiteX3" fmla="*/ 5777685 w 5786353"/>
              <a:gd name="connsiteY3" fmla="*/ 103947 h 4862512"/>
              <a:gd name="connsiteX4" fmla="*/ 5786353 w 5786353"/>
              <a:gd name="connsiteY4" fmla="*/ 146883 h 4862512"/>
              <a:gd name="connsiteX5" fmla="*/ 5786353 w 5786353"/>
              <a:gd name="connsiteY5" fmla="*/ 4717800 h 4862512"/>
              <a:gd name="connsiteX6" fmla="*/ 5777685 w 5786353"/>
              <a:gd name="connsiteY6" fmla="*/ 4760736 h 4862512"/>
              <a:gd name="connsiteX7" fmla="*/ 5686749 w 5786353"/>
              <a:gd name="connsiteY7" fmla="*/ 4851672 h 4862512"/>
              <a:gd name="connsiteX8" fmla="*/ 5633055 w 5786353"/>
              <a:gd name="connsiteY8" fmla="*/ 4862512 h 4862512"/>
              <a:gd name="connsiteX9" fmla="*/ 0 w 5786353"/>
              <a:gd name="connsiteY9" fmla="*/ 4862512 h 4862512"/>
              <a:gd name="connsiteX10" fmla="*/ 0 w 5786353"/>
              <a:gd name="connsiteY10" fmla="*/ 4852694 h 4862512"/>
              <a:gd name="connsiteX11" fmla="*/ 962851 w 5786353"/>
              <a:gd name="connsiteY11" fmla="*/ 2433848 h 4862512"/>
              <a:gd name="connsiteX12" fmla="*/ 0 w 5786353"/>
              <a:gd name="connsiteY12" fmla="*/ 15002 h 4862512"/>
              <a:gd name="connsiteX0" fmla="*/ 0 w 5786353"/>
              <a:gd name="connsiteY0" fmla="*/ 0 h 4862512"/>
              <a:gd name="connsiteX1" fmla="*/ 5622301 w 5786353"/>
              <a:gd name="connsiteY1" fmla="*/ 0 h 4862512"/>
              <a:gd name="connsiteX2" fmla="*/ 5686749 w 5786353"/>
              <a:gd name="connsiteY2" fmla="*/ 13011 h 4862512"/>
              <a:gd name="connsiteX3" fmla="*/ 5777685 w 5786353"/>
              <a:gd name="connsiteY3" fmla="*/ 103947 h 4862512"/>
              <a:gd name="connsiteX4" fmla="*/ 5786353 w 5786353"/>
              <a:gd name="connsiteY4" fmla="*/ 146883 h 4862512"/>
              <a:gd name="connsiteX5" fmla="*/ 5786353 w 5786353"/>
              <a:gd name="connsiteY5" fmla="*/ 4717800 h 4862512"/>
              <a:gd name="connsiteX6" fmla="*/ 5777685 w 5786353"/>
              <a:gd name="connsiteY6" fmla="*/ 4760736 h 4862512"/>
              <a:gd name="connsiteX7" fmla="*/ 5686749 w 5786353"/>
              <a:gd name="connsiteY7" fmla="*/ 4851672 h 4862512"/>
              <a:gd name="connsiteX8" fmla="*/ 5633055 w 5786353"/>
              <a:gd name="connsiteY8" fmla="*/ 4862512 h 4862512"/>
              <a:gd name="connsiteX9" fmla="*/ 0 w 5786353"/>
              <a:gd name="connsiteY9" fmla="*/ 4862512 h 4862512"/>
              <a:gd name="connsiteX10" fmla="*/ 0 w 5786353"/>
              <a:gd name="connsiteY10" fmla="*/ 4852694 h 4862512"/>
              <a:gd name="connsiteX11" fmla="*/ 952803 w 5786353"/>
              <a:gd name="connsiteY11" fmla="*/ 2423800 h 4862512"/>
              <a:gd name="connsiteX12" fmla="*/ 0 w 5786353"/>
              <a:gd name="connsiteY12" fmla="*/ 15002 h 4862512"/>
              <a:gd name="connsiteX13" fmla="*/ 0 w 5786353"/>
              <a:gd name="connsiteY13" fmla="*/ 0 h 4862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786353" h="4862512">
                <a:moveTo>
                  <a:pt x="0" y="0"/>
                </a:moveTo>
                <a:lnTo>
                  <a:pt x="5622301" y="0"/>
                </a:lnTo>
                <a:lnTo>
                  <a:pt x="5686749" y="13011"/>
                </a:lnTo>
                <a:cubicBezTo>
                  <a:pt x="5727636" y="30305"/>
                  <a:pt x="5760391" y="63060"/>
                  <a:pt x="5777685" y="103947"/>
                </a:cubicBezTo>
                <a:lnTo>
                  <a:pt x="5786353" y="146883"/>
                </a:lnTo>
                <a:lnTo>
                  <a:pt x="5786353" y="4717800"/>
                </a:lnTo>
                <a:lnTo>
                  <a:pt x="5777685" y="4760736"/>
                </a:lnTo>
                <a:cubicBezTo>
                  <a:pt x="5760391" y="4801623"/>
                  <a:pt x="5727636" y="4834378"/>
                  <a:pt x="5686749" y="4851672"/>
                </a:cubicBezTo>
                <a:lnTo>
                  <a:pt x="5633055" y="4862512"/>
                </a:lnTo>
                <a:lnTo>
                  <a:pt x="0" y="4862512"/>
                </a:lnTo>
                <a:lnTo>
                  <a:pt x="0" y="4852694"/>
                </a:lnTo>
                <a:lnTo>
                  <a:pt x="952803" y="2423800"/>
                </a:lnTo>
                <a:lnTo>
                  <a:pt x="0" y="15002"/>
                </a:lnTo>
                <a:lnTo>
                  <a:pt x="0" y="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8CAF1BEF-86D9-9C49-A79A-90437F062B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2D71F13D-3902-F649-A58F-7B229C39274E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3732F6BC-86EB-DC47-8955-70DA404806C9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329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то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D68EE43A-8859-594C-A127-7DE1B66556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9114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олилиния 14">
            <a:extLst>
              <a:ext uri="{FF2B5EF4-FFF2-40B4-BE49-F238E27FC236}">
                <a16:creationId xmlns:a16="http://schemas.microsoft.com/office/drawing/2014/main" id="{258183B6-84F7-7942-A1E1-D2A8B442AC54}"/>
              </a:ext>
            </a:extLst>
          </p:cNvPr>
          <p:cNvSpPr/>
          <p:nvPr userDrawn="1"/>
        </p:nvSpPr>
        <p:spPr>
          <a:xfrm flipH="1">
            <a:off x="5584053" y="1348813"/>
            <a:ext cx="5804672" cy="4867096"/>
          </a:xfrm>
          <a:custGeom>
            <a:avLst/>
            <a:gdLst>
              <a:gd name="connsiteX0" fmla="*/ 5804672 w 5804672"/>
              <a:gd name="connsiteY0" fmla="*/ 0 h 4867096"/>
              <a:gd name="connsiteX1" fmla="*/ 3575355 w 5804672"/>
              <a:gd name="connsiteY1" fmla="*/ 0 h 4867096"/>
              <a:gd name="connsiteX2" fmla="*/ 3575355 w 5804672"/>
              <a:gd name="connsiteY2" fmla="*/ 790 h 4867096"/>
              <a:gd name="connsiteX3" fmla="*/ 133772 w 5804672"/>
              <a:gd name="connsiteY3" fmla="*/ 790 h 4867096"/>
              <a:gd name="connsiteX4" fmla="*/ 0 w 5804672"/>
              <a:gd name="connsiteY4" fmla="*/ 134562 h 4867096"/>
              <a:gd name="connsiteX5" fmla="*/ 0 w 5804672"/>
              <a:gd name="connsiteY5" fmla="*/ 4732535 h 4867096"/>
              <a:gd name="connsiteX6" fmla="*/ 133772 w 5804672"/>
              <a:gd name="connsiteY6" fmla="*/ 4866307 h 4867096"/>
              <a:gd name="connsiteX7" fmla="*/ 875911 w 5804672"/>
              <a:gd name="connsiteY7" fmla="*/ 4866307 h 4867096"/>
              <a:gd name="connsiteX8" fmla="*/ 883255 w 5804672"/>
              <a:gd name="connsiteY8" fmla="*/ 4867096 h 4867096"/>
              <a:gd name="connsiteX9" fmla="*/ 3575355 w 5804672"/>
              <a:gd name="connsiteY9" fmla="*/ 4867096 h 4867096"/>
              <a:gd name="connsiteX10" fmla="*/ 5055330 w 5804672"/>
              <a:gd name="connsiteY10" fmla="*/ 4867096 h 4867096"/>
              <a:gd name="connsiteX11" fmla="*/ 5804672 w 5804672"/>
              <a:gd name="connsiteY11" fmla="*/ 4867096 h 4867096"/>
              <a:gd name="connsiteX12" fmla="*/ 4961536 w 5804672"/>
              <a:gd name="connsiteY12" fmla="*/ 2436468 h 4867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804672" h="4867096">
                <a:moveTo>
                  <a:pt x="5804672" y="0"/>
                </a:moveTo>
                <a:lnTo>
                  <a:pt x="3575355" y="0"/>
                </a:lnTo>
                <a:lnTo>
                  <a:pt x="3575355" y="790"/>
                </a:lnTo>
                <a:lnTo>
                  <a:pt x="133772" y="790"/>
                </a:lnTo>
                <a:cubicBezTo>
                  <a:pt x="59892" y="790"/>
                  <a:pt x="0" y="60682"/>
                  <a:pt x="0" y="134562"/>
                </a:cubicBezTo>
                <a:lnTo>
                  <a:pt x="0" y="4732535"/>
                </a:lnTo>
                <a:cubicBezTo>
                  <a:pt x="0" y="4806415"/>
                  <a:pt x="59892" y="4866307"/>
                  <a:pt x="133772" y="4866307"/>
                </a:cubicBezTo>
                <a:lnTo>
                  <a:pt x="875911" y="4866307"/>
                </a:lnTo>
                <a:lnTo>
                  <a:pt x="883255" y="4867096"/>
                </a:lnTo>
                <a:lnTo>
                  <a:pt x="3575355" y="4867096"/>
                </a:lnTo>
                <a:lnTo>
                  <a:pt x="5055330" y="4867096"/>
                </a:lnTo>
                <a:lnTo>
                  <a:pt x="5804672" y="4867096"/>
                </a:lnTo>
                <a:lnTo>
                  <a:pt x="4961536" y="243646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Рисунок 17">
            <a:extLst>
              <a:ext uri="{FF2B5EF4-FFF2-40B4-BE49-F238E27FC236}">
                <a16:creationId xmlns:a16="http://schemas.microsoft.com/office/drawing/2014/main" id="{289EDCB9-AE11-5843-8024-4B13C105AA7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8907" y="1345076"/>
            <a:ext cx="5490233" cy="4859337"/>
          </a:xfrm>
          <a:custGeom>
            <a:avLst/>
            <a:gdLst>
              <a:gd name="connsiteX0" fmla="*/ 129274 w 5508802"/>
              <a:gd name="connsiteY0" fmla="*/ 0 h 4859337"/>
              <a:gd name="connsiteX1" fmla="*/ 4540653 w 5508802"/>
              <a:gd name="connsiteY1" fmla="*/ 0 h 4859337"/>
              <a:gd name="connsiteX2" fmla="*/ 5501812 w 5508802"/>
              <a:gd name="connsiteY2" fmla="*/ 2420276 h 4859337"/>
              <a:gd name="connsiteX3" fmla="*/ 5506169 w 5508802"/>
              <a:gd name="connsiteY3" fmla="*/ 2426067 h 4859337"/>
              <a:gd name="connsiteX4" fmla="*/ 4532899 w 5508802"/>
              <a:gd name="connsiteY4" fmla="*/ 4859337 h 4859337"/>
              <a:gd name="connsiteX5" fmla="*/ 4532898 w 5508802"/>
              <a:gd name="connsiteY5" fmla="*/ 4859337 h 4859337"/>
              <a:gd name="connsiteX6" fmla="*/ 129277 w 5508802"/>
              <a:gd name="connsiteY6" fmla="*/ 4859337 h 4859337"/>
              <a:gd name="connsiteX7" fmla="*/ 117576 w 5508802"/>
              <a:gd name="connsiteY7" fmla="*/ 4855705 h 4859337"/>
              <a:gd name="connsiteX8" fmla="*/ 15128 w 5508802"/>
              <a:gd name="connsiteY8" fmla="*/ 4753257 h 4859337"/>
              <a:gd name="connsiteX9" fmla="*/ 0 w 5508802"/>
              <a:gd name="connsiteY9" fmla="*/ 4678328 h 4859337"/>
              <a:gd name="connsiteX10" fmla="*/ 0 w 5508802"/>
              <a:gd name="connsiteY10" fmla="*/ 181008 h 4859337"/>
              <a:gd name="connsiteX11" fmla="*/ 15128 w 5508802"/>
              <a:gd name="connsiteY11" fmla="*/ 106080 h 4859337"/>
              <a:gd name="connsiteX12" fmla="*/ 117576 w 5508802"/>
              <a:gd name="connsiteY12" fmla="*/ 3632 h 4859337"/>
              <a:gd name="connsiteX0" fmla="*/ 129274 w 5504144"/>
              <a:gd name="connsiteY0" fmla="*/ 0 h 4859337"/>
              <a:gd name="connsiteX1" fmla="*/ 4540653 w 5504144"/>
              <a:gd name="connsiteY1" fmla="*/ 0 h 4859337"/>
              <a:gd name="connsiteX2" fmla="*/ 5501812 w 5504144"/>
              <a:gd name="connsiteY2" fmla="*/ 2420276 h 4859337"/>
              <a:gd name="connsiteX3" fmla="*/ 5474759 w 5504144"/>
              <a:gd name="connsiteY3" fmla="*/ 2440028 h 4859337"/>
              <a:gd name="connsiteX4" fmla="*/ 4532899 w 5504144"/>
              <a:gd name="connsiteY4" fmla="*/ 4859337 h 4859337"/>
              <a:gd name="connsiteX5" fmla="*/ 4532898 w 5504144"/>
              <a:gd name="connsiteY5" fmla="*/ 4859337 h 4859337"/>
              <a:gd name="connsiteX6" fmla="*/ 129277 w 5504144"/>
              <a:gd name="connsiteY6" fmla="*/ 4859337 h 4859337"/>
              <a:gd name="connsiteX7" fmla="*/ 117576 w 5504144"/>
              <a:gd name="connsiteY7" fmla="*/ 4855705 h 4859337"/>
              <a:gd name="connsiteX8" fmla="*/ 15128 w 5504144"/>
              <a:gd name="connsiteY8" fmla="*/ 4753257 h 4859337"/>
              <a:gd name="connsiteX9" fmla="*/ 0 w 5504144"/>
              <a:gd name="connsiteY9" fmla="*/ 4678328 h 4859337"/>
              <a:gd name="connsiteX10" fmla="*/ 0 w 5504144"/>
              <a:gd name="connsiteY10" fmla="*/ 181008 h 4859337"/>
              <a:gd name="connsiteX11" fmla="*/ 15128 w 5504144"/>
              <a:gd name="connsiteY11" fmla="*/ 106080 h 4859337"/>
              <a:gd name="connsiteX12" fmla="*/ 117576 w 5504144"/>
              <a:gd name="connsiteY12" fmla="*/ 3632 h 4859337"/>
              <a:gd name="connsiteX13" fmla="*/ 129274 w 5504144"/>
              <a:gd name="connsiteY13" fmla="*/ 0 h 4859337"/>
              <a:gd name="connsiteX0" fmla="*/ 129274 w 5488080"/>
              <a:gd name="connsiteY0" fmla="*/ 0 h 4859337"/>
              <a:gd name="connsiteX1" fmla="*/ 4540653 w 5488080"/>
              <a:gd name="connsiteY1" fmla="*/ 0 h 4859337"/>
              <a:gd name="connsiteX2" fmla="*/ 5484362 w 5488080"/>
              <a:gd name="connsiteY2" fmla="*/ 2430747 h 4859337"/>
              <a:gd name="connsiteX3" fmla="*/ 5474759 w 5488080"/>
              <a:gd name="connsiteY3" fmla="*/ 2440028 h 4859337"/>
              <a:gd name="connsiteX4" fmla="*/ 4532899 w 5488080"/>
              <a:gd name="connsiteY4" fmla="*/ 4859337 h 4859337"/>
              <a:gd name="connsiteX5" fmla="*/ 4532898 w 5488080"/>
              <a:gd name="connsiteY5" fmla="*/ 4859337 h 4859337"/>
              <a:gd name="connsiteX6" fmla="*/ 129277 w 5488080"/>
              <a:gd name="connsiteY6" fmla="*/ 4859337 h 4859337"/>
              <a:gd name="connsiteX7" fmla="*/ 117576 w 5488080"/>
              <a:gd name="connsiteY7" fmla="*/ 4855705 h 4859337"/>
              <a:gd name="connsiteX8" fmla="*/ 15128 w 5488080"/>
              <a:gd name="connsiteY8" fmla="*/ 4753257 h 4859337"/>
              <a:gd name="connsiteX9" fmla="*/ 0 w 5488080"/>
              <a:gd name="connsiteY9" fmla="*/ 4678328 h 4859337"/>
              <a:gd name="connsiteX10" fmla="*/ 0 w 5488080"/>
              <a:gd name="connsiteY10" fmla="*/ 181008 h 4859337"/>
              <a:gd name="connsiteX11" fmla="*/ 15128 w 5488080"/>
              <a:gd name="connsiteY11" fmla="*/ 106080 h 4859337"/>
              <a:gd name="connsiteX12" fmla="*/ 117576 w 5488080"/>
              <a:gd name="connsiteY12" fmla="*/ 3632 h 4859337"/>
              <a:gd name="connsiteX13" fmla="*/ 129274 w 5488080"/>
              <a:gd name="connsiteY13" fmla="*/ 0 h 4859337"/>
              <a:gd name="connsiteX0" fmla="*/ 129274 w 5490233"/>
              <a:gd name="connsiteY0" fmla="*/ 0 h 4859337"/>
              <a:gd name="connsiteX1" fmla="*/ 4540653 w 5490233"/>
              <a:gd name="connsiteY1" fmla="*/ 0 h 4859337"/>
              <a:gd name="connsiteX2" fmla="*/ 5484362 w 5490233"/>
              <a:gd name="connsiteY2" fmla="*/ 2430747 h 4859337"/>
              <a:gd name="connsiteX3" fmla="*/ 5485645 w 5490233"/>
              <a:gd name="connsiteY3" fmla="*/ 2429142 h 4859337"/>
              <a:gd name="connsiteX4" fmla="*/ 4532899 w 5490233"/>
              <a:gd name="connsiteY4" fmla="*/ 4859337 h 4859337"/>
              <a:gd name="connsiteX5" fmla="*/ 4532898 w 5490233"/>
              <a:gd name="connsiteY5" fmla="*/ 4859337 h 4859337"/>
              <a:gd name="connsiteX6" fmla="*/ 129277 w 5490233"/>
              <a:gd name="connsiteY6" fmla="*/ 4859337 h 4859337"/>
              <a:gd name="connsiteX7" fmla="*/ 117576 w 5490233"/>
              <a:gd name="connsiteY7" fmla="*/ 4855705 h 4859337"/>
              <a:gd name="connsiteX8" fmla="*/ 15128 w 5490233"/>
              <a:gd name="connsiteY8" fmla="*/ 4753257 h 4859337"/>
              <a:gd name="connsiteX9" fmla="*/ 0 w 5490233"/>
              <a:gd name="connsiteY9" fmla="*/ 4678328 h 4859337"/>
              <a:gd name="connsiteX10" fmla="*/ 0 w 5490233"/>
              <a:gd name="connsiteY10" fmla="*/ 181008 h 4859337"/>
              <a:gd name="connsiteX11" fmla="*/ 15128 w 5490233"/>
              <a:gd name="connsiteY11" fmla="*/ 106080 h 4859337"/>
              <a:gd name="connsiteX12" fmla="*/ 117576 w 5490233"/>
              <a:gd name="connsiteY12" fmla="*/ 3632 h 4859337"/>
              <a:gd name="connsiteX13" fmla="*/ 129274 w 5490233"/>
              <a:gd name="connsiteY13" fmla="*/ 0 h 4859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490233" h="4859337">
                <a:moveTo>
                  <a:pt x="129274" y="0"/>
                </a:moveTo>
                <a:lnTo>
                  <a:pt x="4540653" y="0"/>
                </a:lnTo>
                <a:lnTo>
                  <a:pt x="5484362" y="2430747"/>
                </a:lnTo>
                <a:cubicBezTo>
                  <a:pt x="5496398" y="2437969"/>
                  <a:pt x="5486310" y="2425095"/>
                  <a:pt x="5485645" y="2429142"/>
                </a:cubicBezTo>
                <a:lnTo>
                  <a:pt x="4532899" y="4859337"/>
                </a:lnTo>
                <a:lnTo>
                  <a:pt x="4532898" y="4859337"/>
                </a:lnTo>
                <a:lnTo>
                  <a:pt x="129277" y="4859337"/>
                </a:lnTo>
                <a:lnTo>
                  <a:pt x="117576" y="4855705"/>
                </a:lnTo>
                <a:cubicBezTo>
                  <a:pt x="71513" y="4836222"/>
                  <a:pt x="34611" y="4799320"/>
                  <a:pt x="15128" y="4753257"/>
                </a:cubicBezTo>
                <a:lnTo>
                  <a:pt x="0" y="4678328"/>
                </a:lnTo>
                <a:lnTo>
                  <a:pt x="0" y="181008"/>
                </a:lnTo>
                <a:lnTo>
                  <a:pt x="15128" y="106080"/>
                </a:lnTo>
                <a:cubicBezTo>
                  <a:pt x="34611" y="60017"/>
                  <a:pt x="71513" y="23115"/>
                  <a:pt x="117576" y="3632"/>
                </a:cubicBezTo>
                <a:lnTo>
                  <a:pt x="129274" y="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20" name="Полилиния 19">
            <a:extLst>
              <a:ext uri="{FF2B5EF4-FFF2-40B4-BE49-F238E27FC236}">
                <a16:creationId xmlns:a16="http://schemas.microsoft.com/office/drawing/2014/main" id="{AD748ECC-C982-6B4C-88F1-D9C05250EFC0}"/>
              </a:ext>
            </a:extLst>
          </p:cNvPr>
          <p:cNvSpPr/>
          <p:nvPr userDrawn="1"/>
        </p:nvSpPr>
        <p:spPr>
          <a:xfrm rot="5400000">
            <a:off x="5694996" y="1340698"/>
            <a:ext cx="22608" cy="8371"/>
          </a:xfrm>
          <a:custGeom>
            <a:avLst/>
            <a:gdLst>
              <a:gd name="connsiteX0" fmla="*/ 0 w 22608"/>
              <a:gd name="connsiteY0" fmla="*/ 8371 h 8371"/>
              <a:gd name="connsiteX1" fmla="*/ 22608 w 22608"/>
              <a:gd name="connsiteY1" fmla="*/ 0 h 8371"/>
              <a:gd name="connsiteX2" fmla="*/ 22607 w 22608"/>
              <a:gd name="connsiteY2" fmla="*/ 8371 h 8371"/>
              <a:gd name="connsiteX3" fmla="*/ 0 w 22608"/>
              <a:gd name="connsiteY3" fmla="*/ 8371 h 8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08" h="8371">
                <a:moveTo>
                  <a:pt x="0" y="8371"/>
                </a:moveTo>
                <a:lnTo>
                  <a:pt x="22608" y="0"/>
                </a:lnTo>
                <a:lnTo>
                  <a:pt x="22607" y="8371"/>
                </a:lnTo>
                <a:lnTo>
                  <a:pt x="0" y="8371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B0953E44-28C2-E744-92BB-10A39DACC513}"/>
              </a:ext>
            </a:extLst>
          </p:cNvPr>
          <p:cNvGrpSpPr/>
          <p:nvPr userDrawn="1"/>
        </p:nvGrpSpPr>
        <p:grpSpPr>
          <a:xfrm>
            <a:off x="5338119" y="1347617"/>
            <a:ext cx="1210963" cy="4859337"/>
            <a:chOff x="5313405" y="1347617"/>
            <a:chExt cx="1210963" cy="4859337"/>
          </a:xfrm>
        </p:grpSpPr>
        <p:sp>
          <p:nvSpPr>
            <p:cNvPr id="13" name="Нашивка 12">
              <a:extLst>
                <a:ext uri="{FF2B5EF4-FFF2-40B4-BE49-F238E27FC236}">
                  <a16:creationId xmlns:a16="http://schemas.microsoft.com/office/drawing/2014/main" id="{38B57F03-4830-B347-8EA1-C3CC678B2498}"/>
                </a:ext>
              </a:extLst>
            </p:cNvPr>
            <p:cNvSpPr/>
            <p:nvPr/>
          </p:nvSpPr>
          <p:spPr>
            <a:xfrm>
              <a:off x="5436973" y="1347617"/>
              <a:ext cx="1087395" cy="4859337"/>
            </a:xfrm>
            <a:prstGeom prst="chevron">
              <a:avLst>
                <a:gd name="adj" fmla="val 87552"/>
              </a:avLst>
            </a:prstGeom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13827FF2-80E7-9946-AD79-F575624B378A}"/>
                </a:ext>
              </a:extLst>
            </p:cNvPr>
            <p:cNvSpPr/>
            <p:nvPr/>
          </p:nvSpPr>
          <p:spPr>
            <a:xfrm>
              <a:off x="5313405" y="1347617"/>
              <a:ext cx="1087395" cy="4859337"/>
            </a:xfrm>
            <a:prstGeom prst="chevron">
              <a:avLst>
                <a:gd name="adj" fmla="val 87552"/>
              </a:avLst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sp>
        <p:nvSpPr>
          <p:cNvPr id="16" name="Текст 2">
            <a:extLst>
              <a:ext uri="{FF2B5EF4-FFF2-40B4-BE49-F238E27FC236}">
                <a16:creationId xmlns:a16="http://schemas.microsoft.com/office/drawing/2014/main" id="{7220B340-E1FC-7443-B4D1-D57F68C877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976C3353-E06F-F540-9C7F-62F548F02E1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8F5414C5-E2C2-EA4F-B02B-9C2BF3C5451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987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вертикальные карточ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6F22A351-A906-FD4A-AF17-DF96C10790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90989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Рисунок 4">
            <a:extLst>
              <a:ext uri="{FF2B5EF4-FFF2-40B4-BE49-F238E27FC236}">
                <a16:creationId xmlns:a16="http://schemas.microsoft.com/office/drawing/2014/main" id="{54A7A32A-0F62-F54B-B421-C10E8509B78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20738" y="2311400"/>
            <a:ext cx="3248025" cy="1952625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9236F921-8E88-A648-A0FF-AA8DD6FFB8E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483286" y="2311400"/>
            <a:ext cx="3248025" cy="1952625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6" name="Рисунок 4">
            <a:extLst>
              <a:ext uri="{FF2B5EF4-FFF2-40B4-BE49-F238E27FC236}">
                <a16:creationId xmlns:a16="http://schemas.microsoft.com/office/drawing/2014/main" id="{4605D42A-86C6-474D-8F7F-31E9E7B6534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47813" y="2311400"/>
            <a:ext cx="3248025" cy="1952625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id="{6F7AF065-1B16-014D-99B0-A88CC6A2C6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5F6C3B32-62C9-1349-81C3-32EEB370FA33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7B86F741-EC01-3043-B23A-0266623F0C7E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602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хайлайта с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3AAE98BF-D215-5E4C-A38A-B49101B42C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36945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Рисунок 2">
            <a:extLst>
              <a:ext uri="{FF2B5EF4-FFF2-40B4-BE49-F238E27FC236}">
                <a16:creationId xmlns:a16="http://schemas.microsoft.com/office/drawing/2014/main" id="{F540E14F-28B0-7840-8873-F88D5F76C72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1412" y="-2"/>
            <a:ext cx="6120000" cy="6858001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B2B2737D-BCC6-B549-B21D-CC779C9711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6095997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id="{120012A5-1BD7-BC42-924B-0339C44060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8F5D55D-FB94-FC4A-B247-84053521ABE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2">
            <a:extLst>
              <a:ext uri="{FF2B5EF4-FFF2-40B4-BE49-F238E27FC236}">
                <a16:creationId xmlns:a16="http://schemas.microsoft.com/office/drawing/2014/main" id="{79793C7B-296A-6240-9792-871DB6E2CEE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77F431C-1F2A-5E44-BDFA-93A8471B87C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98160324-1822-A64D-A7EF-818FEA4BEA2C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1AF2A216-EB3B-544B-924F-63FC5DBF51AA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A447DCD6-CA8C-4A92-81F4-FB7F6395F63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576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хайлайта с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75A83CC-9EE2-4449-BC43-8F9F3CB86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42644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0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Рисунок 2">
            <a:extLst>
              <a:ext uri="{FF2B5EF4-FFF2-40B4-BE49-F238E27FC236}">
                <a16:creationId xmlns:a16="http://schemas.microsoft.com/office/drawing/2014/main" id="{B2B2737D-BCC6-B549-B21D-CC779C9711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2"/>
            <a:ext cx="4068000" cy="6857998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2" name="Рисунок 2">
            <a:extLst>
              <a:ext uri="{FF2B5EF4-FFF2-40B4-BE49-F238E27FC236}">
                <a16:creationId xmlns:a16="http://schemas.microsoft.com/office/drawing/2014/main" id="{49DC0046-C910-434A-88C0-4A37DDB77FF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61999" y="0"/>
            <a:ext cx="4089735" cy="6857999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6" name="Рисунок 2">
            <a:extLst>
              <a:ext uri="{FF2B5EF4-FFF2-40B4-BE49-F238E27FC236}">
                <a16:creationId xmlns:a16="http://schemas.microsoft.com/office/drawing/2014/main" id="{DFCEA0CC-0AF1-4846-8714-1F4D2831B3E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51734" y="2"/>
            <a:ext cx="4040266" cy="6857998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8F5D55D-FB94-FC4A-B247-84053521ABE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id="{120012A5-1BD7-BC42-924B-0339C44060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 marL="0" indent="0">
              <a:tabLst>
                <a:tab pos="3721100" algn="l"/>
              </a:tabLst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7" name="Текст 2">
            <a:extLst>
              <a:ext uri="{FF2B5EF4-FFF2-40B4-BE49-F238E27FC236}">
                <a16:creationId xmlns:a16="http://schemas.microsoft.com/office/drawing/2014/main" id="{8891A38A-68ED-E14B-A600-6C40DAAFC3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993F551-2870-DD44-9793-96EA7C5FCABE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314D1FA-E7FA-9849-BC54-2AB688CD9D6B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31529822-1A31-BE48-81E4-338C3E102713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C52DB170-0BD8-460C-95C4-93631BA8602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6692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хайлайта с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F79BFCF-0513-BB43-8C0E-FD98BCB588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71365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Рисунок 2">
            <a:extLst>
              <a:ext uri="{FF2B5EF4-FFF2-40B4-BE49-F238E27FC236}">
                <a16:creationId xmlns:a16="http://schemas.microsoft.com/office/drawing/2014/main" id="{B2B2737D-BCC6-B549-B21D-CC779C9711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3072701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AF7ABE9-7A11-A245-8734-8344564803F6}"/>
              </a:ext>
            </a:extLst>
          </p:cNvPr>
          <p:cNvSpPr txBox="1"/>
          <p:nvPr userDrawn="1"/>
        </p:nvSpPr>
        <p:spPr>
          <a:xfrm>
            <a:off x="11049960" y="6462296"/>
            <a:ext cx="338765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r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7" name="Рисунок 2">
            <a:extLst>
              <a:ext uri="{FF2B5EF4-FFF2-40B4-BE49-F238E27FC236}">
                <a16:creationId xmlns:a16="http://schemas.microsoft.com/office/drawing/2014/main" id="{A729587E-E652-7946-8C92-DDC2AE8285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048234" y="0"/>
            <a:ext cx="3060000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8" name="Рисунок 2">
            <a:extLst>
              <a:ext uri="{FF2B5EF4-FFF2-40B4-BE49-F238E27FC236}">
                <a16:creationId xmlns:a16="http://schemas.microsoft.com/office/drawing/2014/main" id="{9E32ACDA-BAF1-5D42-86D5-F7ED889DBE9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83767" y="0"/>
            <a:ext cx="3060000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9" name="Рисунок 2">
            <a:extLst>
              <a:ext uri="{FF2B5EF4-FFF2-40B4-BE49-F238E27FC236}">
                <a16:creationId xmlns:a16="http://schemas.microsoft.com/office/drawing/2014/main" id="{01BD0279-8285-1C4E-A108-7937827AD0C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19298" y="-2"/>
            <a:ext cx="3072701" cy="6858001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8F5D55D-FB94-FC4A-B247-84053521ABE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id="{120012A5-1BD7-BC42-924B-0339C44060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 marL="0" indent="0">
              <a:tabLst>
                <a:tab pos="3721100" algn="l"/>
              </a:tabLst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20" name="Текст 2">
            <a:extLst>
              <a:ext uri="{FF2B5EF4-FFF2-40B4-BE49-F238E27FC236}">
                <a16:creationId xmlns:a16="http://schemas.microsoft.com/office/drawing/2014/main" id="{7C5C851D-6422-F84C-9E3B-3DCE985670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21CE91D-6B0B-A646-8A6D-031751374C94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B4C12A0-7419-954A-B4A1-6EAA8D2295ED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9D8E1B5F-2E2C-FA43-A616-018BB629B8EE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5E74483-36EB-4F4A-8538-B908593BA75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284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команд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A553710-8EB1-D749-A488-B003541240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53153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Рисунок 13">
            <a:extLst>
              <a:ext uri="{FF2B5EF4-FFF2-40B4-BE49-F238E27FC236}">
                <a16:creationId xmlns:a16="http://schemas.microsoft.com/office/drawing/2014/main" id="{F537E8E3-816C-2544-91F9-4B33037D29C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864343" y="1385106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6" name="Рисунок 13">
            <a:extLst>
              <a:ext uri="{FF2B5EF4-FFF2-40B4-BE49-F238E27FC236}">
                <a16:creationId xmlns:a16="http://schemas.microsoft.com/office/drawing/2014/main" id="{97B0A150-AB47-874D-96C9-DE360A01A15C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64343" y="3210347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7" name="Рисунок 13">
            <a:extLst>
              <a:ext uri="{FF2B5EF4-FFF2-40B4-BE49-F238E27FC236}">
                <a16:creationId xmlns:a16="http://schemas.microsoft.com/office/drawing/2014/main" id="{B7E6E8E3-1174-144D-B9A7-77104747AE5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64343" y="5043888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8" name="Рисунок 13">
            <a:extLst>
              <a:ext uri="{FF2B5EF4-FFF2-40B4-BE49-F238E27FC236}">
                <a16:creationId xmlns:a16="http://schemas.microsoft.com/office/drawing/2014/main" id="{7BDAB4F6-51C0-F848-9832-591B5C309C46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4554113" y="1376806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9" name="Рисунок 13">
            <a:extLst>
              <a:ext uri="{FF2B5EF4-FFF2-40B4-BE49-F238E27FC236}">
                <a16:creationId xmlns:a16="http://schemas.microsoft.com/office/drawing/2014/main" id="{A14C52C0-480A-484F-B424-8467E507D069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8243883" y="1376806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0" name="Рисунок 13">
            <a:extLst>
              <a:ext uri="{FF2B5EF4-FFF2-40B4-BE49-F238E27FC236}">
                <a16:creationId xmlns:a16="http://schemas.microsoft.com/office/drawing/2014/main" id="{0272647E-2316-CA4F-9A62-7BCA4D42E7D6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54113" y="3210347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1" name="Рисунок 13">
            <a:extLst>
              <a:ext uri="{FF2B5EF4-FFF2-40B4-BE49-F238E27FC236}">
                <a16:creationId xmlns:a16="http://schemas.microsoft.com/office/drawing/2014/main" id="{5974A209-122A-5F41-A13F-25522C1B6E7E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8243883" y="3210347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2" name="Рисунок 13">
            <a:extLst>
              <a:ext uri="{FF2B5EF4-FFF2-40B4-BE49-F238E27FC236}">
                <a16:creationId xmlns:a16="http://schemas.microsoft.com/office/drawing/2014/main" id="{4E511F35-5BA5-CA45-A4CC-D3C500DE3296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4554113" y="5043888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3" name="Рисунок 13">
            <a:extLst>
              <a:ext uri="{FF2B5EF4-FFF2-40B4-BE49-F238E27FC236}">
                <a16:creationId xmlns:a16="http://schemas.microsoft.com/office/drawing/2014/main" id="{F73DD4C3-358E-BB40-A4F1-7F39008F69AE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8243883" y="5043888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id="{F19BE0CC-9355-3F40-936D-3F8626544E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8E2307BE-66F3-7D44-9102-694445144759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55AF4710-4919-F146-A8CA-3C89CC53816F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3758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Слайд с контакт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9CA8D65A-CD26-894A-B070-5C035F2A04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4373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810B0541-1057-CD46-B9A5-6549F4AEE5BD}"/>
              </a:ext>
            </a:extLst>
          </p:cNvPr>
          <p:cNvGrpSpPr/>
          <p:nvPr userDrawn="1"/>
        </p:nvGrpSpPr>
        <p:grpSpPr>
          <a:xfrm>
            <a:off x="3445589" y="1348162"/>
            <a:ext cx="771073" cy="2778654"/>
            <a:chOff x="3445589" y="1348162"/>
            <a:chExt cx="771073" cy="2778654"/>
          </a:xfrm>
        </p:grpSpPr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4B4A7E79-CD9E-8046-B435-F57ACE87C22A}"/>
                </a:ext>
              </a:extLst>
            </p:cNvPr>
            <p:cNvSpPr/>
            <p:nvPr/>
          </p:nvSpPr>
          <p:spPr>
            <a:xfrm>
              <a:off x="3586782" y="1348162"/>
              <a:ext cx="629880" cy="2778654"/>
            </a:xfrm>
            <a:prstGeom prst="chevron">
              <a:avLst>
                <a:gd name="adj" fmla="val 79013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id="{0A198EC9-08B4-7E4D-A5B0-628EE7D8B1FA}"/>
                </a:ext>
              </a:extLst>
            </p:cNvPr>
            <p:cNvSpPr/>
            <p:nvPr/>
          </p:nvSpPr>
          <p:spPr>
            <a:xfrm>
              <a:off x="3445589" y="1348162"/>
              <a:ext cx="629880" cy="2778654"/>
            </a:xfrm>
            <a:prstGeom prst="chevron">
              <a:avLst>
                <a:gd name="adj" fmla="val 79013"/>
              </a:avLst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sp>
        <p:nvSpPr>
          <p:cNvPr id="19" name="Рисунок 18">
            <a:extLst>
              <a:ext uri="{FF2B5EF4-FFF2-40B4-BE49-F238E27FC236}">
                <a16:creationId xmlns:a16="http://schemas.microsoft.com/office/drawing/2014/main" id="{C7F3CBE2-441C-F245-B292-5E89FE31F77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4785" y="1348127"/>
            <a:ext cx="3131741" cy="2771436"/>
          </a:xfrm>
          <a:custGeom>
            <a:avLst/>
            <a:gdLst>
              <a:gd name="connsiteX0" fmla="*/ 115649 w 3131741"/>
              <a:gd name="connsiteY0" fmla="*/ 0 h 2771436"/>
              <a:gd name="connsiteX1" fmla="*/ 2638631 w 3131741"/>
              <a:gd name="connsiteY1" fmla="*/ 0 h 2771436"/>
              <a:gd name="connsiteX2" fmla="*/ 3131741 w 3131741"/>
              <a:gd name="connsiteY2" fmla="*/ 1384518 h 2771436"/>
              <a:gd name="connsiteX3" fmla="*/ 3131741 w 3131741"/>
              <a:gd name="connsiteY3" fmla="*/ 1387483 h 2771436"/>
              <a:gd name="connsiteX4" fmla="*/ 2638832 w 3131741"/>
              <a:gd name="connsiteY4" fmla="*/ 2771436 h 2771436"/>
              <a:gd name="connsiteX5" fmla="*/ 79723 w 3131741"/>
              <a:gd name="connsiteY5" fmla="*/ 2771436 h 2771436"/>
              <a:gd name="connsiteX6" fmla="*/ 70633 w 3131741"/>
              <a:gd name="connsiteY6" fmla="*/ 2769601 h 2771436"/>
              <a:gd name="connsiteX7" fmla="*/ 0 w 3131741"/>
              <a:gd name="connsiteY7" fmla="*/ 2663040 h 2771436"/>
              <a:gd name="connsiteX8" fmla="*/ 0 w 3131741"/>
              <a:gd name="connsiteY8" fmla="*/ 115649 h 2771436"/>
              <a:gd name="connsiteX9" fmla="*/ 115649 w 3131741"/>
              <a:gd name="connsiteY9" fmla="*/ 0 h 2771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31741" h="2771436">
                <a:moveTo>
                  <a:pt x="115649" y="0"/>
                </a:moveTo>
                <a:lnTo>
                  <a:pt x="2638631" y="0"/>
                </a:lnTo>
                <a:lnTo>
                  <a:pt x="3131741" y="1384518"/>
                </a:lnTo>
                <a:lnTo>
                  <a:pt x="3131741" y="1387483"/>
                </a:lnTo>
                <a:lnTo>
                  <a:pt x="2638832" y="2771436"/>
                </a:lnTo>
                <a:lnTo>
                  <a:pt x="79723" y="2771436"/>
                </a:lnTo>
                <a:lnTo>
                  <a:pt x="70633" y="2769601"/>
                </a:lnTo>
                <a:cubicBezTo>
                  <a:pt x="29125" y="2752044"/>
                  <a:pt x="0" y="2710943"/>
                  <a:pt x="0" y="2663040"/>
                </a:cubicBezTo>
                <a:lnTo>
                  <a:pt x="0" y="115649"/>
                </a:lnTo>
                <a:cubicBezTo>
                  <a:pt x="0" y="51778"/>
                  <a:pt x="51778" y="0"/>
                  <a:pt x="115649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F26ABBD4-C954-894B-B2B1-49C9529E24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3611A81E-E8D2-9140-8AA6-2A2F8C3391E0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790147DF-8F69-1B45-822B-2C8CEC604618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59956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сширенный слайд с контакт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10661A6-6AFF-8544-81FE-15464A7EA4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45703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6866C39B-C013-2643-9A19-721E15B83DB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193800" y="1724328"/>
            <a:ext cx="1713211" cy="1712611"/>
          </a:xfrm>
          <a:custGeom>
            <a:avLst/>
            <a:gdLst>
              <a:gd name="connsiteX0" fmla="*/ 856606 w 1713211"/>
              <a:gd name="connsiteY0" fmla="*/ 0 h 1712611"/>
              <a:gd name="connsiteX1" fmla="*/ 1708790 w 1713211"/>
              <a:gd name="connsiteY1" fmla="*/ 769023 h 1712611"/>
              <a:gd name="connsiteX2" fmla="*/ 1713211 w 1713211"/>
              <a:gd name="connsiteY2" fmla="*/ 856586 h 1712611"/>
              <a:gd name="connsiteX3" fmla="*/ 1713211 w 1713211"/>
              <a:gd name="connsiteY3" fmla="*/ 856626 h 1712611"/>
              <a:gd name="connsiteX4" fmla="*/ 1708790 w 1713211"/>
              <a:gd name="connsiteY4" fmla="*/ 944189 h 1712611"/>
              <a:gd name="connsiteX5" fmla="*/ 944189 w 1713211"/>
              <a:gd name="connsiteY5" fmla="*/ 1708790 h 1712611"/>
              <a:gd name="connsiteX6" fmla="*/ 868508 w 1713211"/>
              <a:gd name="connsiteY6" fmla="*/ 1712611 h 1712611"/>
              <a:gd name="connsiteX7" fmla="*/ 844704 w 1713211"/>
              <a:gd name="connsiteY7" fmla="*/ 1712611 h 1712611"/>
              <a:gd name="connsiteX8" fmla="*/ 769023 w 1713211"/>
              <a:gd name="connsiteY8" fmla="*/ 1708790 h 1712611"/>
              <a:gd name="connsiteX9" fmla="*/ 0 w 1713211"/>
              <a:gd name="connsiteY9" fmla="*/ 856606 h 1712611"/>
              <a:gd name="connsiteX10" fmla="*/ 856606 w 1713211"/>
              <a:gd name="connsiteY10" fmla="*/ 0 h 1712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13211" h="1712611">
                <a:moveTo>
                  <a:pt x="856606" y="0"/>
                </a:moveTo>
                <a:cubicBezTo>
                  <a:pt x="1300128" y="0"/>
                  <a:pt x="1664923" y="337075"/>
                  <a:pt x="1708790" y="769023"/>
                </a:cubicBezTo>
                <a:lnTo>
                  <a:pt x="1713211" y="856586"/>
                </a:lnTo>
                <a:lnTo>
                  <a:pt x="1713211" y="856626"/>
                </a:lnTo>
                <a:lnTo>
                  <a:pt x="1708790" y="944189"/>
                </a:lnTo>
                <a:cubicBezTo>
                  <a:pt x="1667847" y="1347341"/>
                  <a:pt x="1347341" y="1667847"/>
                  <a:pt x="944189" y="1708790"/>
                </a:cubicBezTo>
                <a:lnTo>
                  <a:pt x="868508" y="1712611"/>
                </a:lnTo>
                <a:lnTo>
                  <a:pt x="844704" y="1712611"/>
                </a:lnTo>
                <a:lnTo>
                  <a:pt x="769023" y="1708790"/>
                </a:lnTo>
                <a:cubicBezTo>
                  <a:pt x="337075" y="1664923"/>
                  <a:pt x="0" y="1300128"/>
                  <a:pt x="0" y="856606"/>
                </a:cubicBezTo>
                <a:cubicBezTo>
                  <a:pt x="0" y="383516"/>
                  <a:pt x="383516" y="0"/>
                  <a:pt x="856606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EDE18CFA-4597-C542-BD6A-BB6556226B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63F073C-BF3E-F34E-B467-C7DE312DB4CD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EFC3422F-D15C-C84F-88C3-7229DD67E0AA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4305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 компан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CABB8F2-733D-7F43-AC63-395A8A161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67705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0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69D28E57-41BD-734F-ABC1-1CE649C7D8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64397" y="-2744"/>
            <a:ext cx="7327603" cy="686348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17201" h="6844239">
                <a:moveTo>
                  <a:pt x="0" y="0"/>
                </a:moveTo>
                <a:lnTo>
                  <a:pt x="7317201" y="0"/>
                </a:lnTo>
                <a:lnTo>
                  <a:pt x="7317201" y="6844239"/>
                </a:lnTo>
                <a:lnTo>
                  <a:pt x="0" y="6844239"/>
                </a:lnTo>
                <a:lnTo>
                  <a:pt x="0" y="6825611"/>
                </a:lnTo>
                <a:lnTo>
                  <a:pt x="1183573" y="3424239"/>
                </a:lnTo>
                <a:lnTo>
                  <a:pt x="0" y="2286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38BAF189-7717-0640-8C8C-ED5E2ED62208}"/>
              </a:ext>
            </a:extLst>
          </p:cNvPr>
          <p:cNvGrpSpPr/>
          <p:nvPr userDrawn="1"/>
        </p:nvGrpSpPr>
        <p:grpSpPr>
          <a:xfrm>
            <a:off x="4612146" y="-3357"/>
            <a:ext cx="1442729" cy="6876000"/>
            <a:chOff x="3106995" y="0"/>
            <a:chExt cx="1442729" cy="6858000"/>
          </a:xfrm>
        </p:grpSpPr>
        <p:sp>
          <p:nvSpPr>
            <p:cNvPr id="10" name="Нашивка 9">
              <a:extLst>
                <a:ext uri="{FF2B5EF4-FFF2-40B4-BE49-F238E27FC236}">
                  <a16:creationId xmlns:a16="http://schemas.microsoft.com/office/drawing/2014/main" id="{AF822873-8C8D-1043-BA6F-04B9699CC2D6}"/>
                </a:ext>
              </a:extLst>
            </p:cNvPr>
            <p:cNvSpPr/>
            <p:nvPr userDrawn="1"/>
          </p:nvSpPr>
          <p:spPr>
            <a:xfrm>
              <a:off x="3106995" y="0"/>
              <a:ext cx="1315103" cy="6858000"/>
            </a:xfrm>
            <a:prstGeom prst="chevron">
              <a:avLst>
                <a:gd name="adj" fmla="val 89479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1" name="Нашивка 10">
              <a:extLst>
                <a:ext uri="{FF2B5EF4-FFF2-40B4-BE49-F238E27FC236}">
                  <a16:creationId xmlns:a16="http://schemas.microsoft.com/office/drawing/2014/main" id="{953148FE-FF88-A245-8A8A-48BDA4067A84}"/>
                </a:ext>
              </a:extLst>
            </p:cNvPr>
            <p:cNvSpPr/>
            <p:nvPr userDrawn="1"/>
          </p:nvSpPr>
          <p:spPr>
            <a:xfrm>
              <a:off x="3234621" y="0"/>
              <a:ext cx="1315103" cy="6858000"/>
            </a:xfrm>
            <a:prstGeom prst="chevron">
              <a:avLst>
                <a:gd name="adj" fmla="val 89479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46B69F67-B055-7640-8853-181616F115A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6" name="Заголовок 16">
            <a:extLst>
              <a:ext uri="{FF2B5EF4-FFF2-40B4-BE49-F238E27FC236}">
                <a16:creationId xmlns:a16="http://schemas.microsoft.com/office/drawing/2014/main" id="{F1C14830-24AB-4749-BC5F-7A646C87AE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3803239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AA790474-46FC-9941-AE33-0D3A2D0224A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2C322BA2-087E-0745-A341-7E93A885438A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6836"/>
            <a:ext cx="0" cy="15902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E6EEB85F-5429-D048-AD72-EFBE1D8A2DF5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6F595A2B-72A1-E347-9CA0-14DD22536CCA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6C5022CC-AF62-FF4A-B915-BCD69BA94596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16589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2 залив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8109D373-A5FC-3145-A72E-19E6093F3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11409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B25FCF0-2689-E740-92E7-6F6AA6DD9764}"/>
              </a:ext>
            </a:extLst>
          </p:cNvPr>
          <p:cNvGrpSpPr/>
          <p:nvPr userDrawn="1"/>
        </p:nvGrpSpPr>
        <p:grpSpPr>
          <a:xfrm>
            <a:off x="5330559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7987E582-CD0D-4546-B723-8831CB5C99C4}"/>
              </a:ext>
            </a:extLst>
          </p:cNvPr>
          <p:cNvSpPr/>
          <p:nvPr userDrawn="1"/>
        </p:nvSpPr>
        <p:spPr>
          <a:xfrm>
            <a:off x="5546360" y="0"/>
            <a:ext cx="6645640" cy="6858000"/>
          </a:xfrm>
          <a:custGeom>
            <a:avLst/>
            <a:gdLst>
              <a:gd name="connsiteX0" fmla="*/ 0 w 6645640"/>
              <a:gd name="connsiteY0" fmla="*/ 0 h 6858000"/>
              <a:gd name="connsiteX1" fmla="*/ 1315082 w 6645640"/>
              <a:gd name="connsiteY1" fmla="*/ 0 h 6858000"/>
              <a:gd name="connsiteX2" fmla="*/ 5292944 w 6645640"/>
              <a:gd name="connsiteY2" fmla="*/ 0 h 6858000"/>
              <a:gd name="connsiteX3" fmla="*/ 6645640 w 6645640"/>
              <a:gd name="connsiteY3" fmla="*/ 0 h 6858000"/>
              <a:gd name="connsiteX4" fmla="*/ 6645640 w 6645640"/>
              <a:gd name="connsiteY4" fmla="*/ 6858000 h 6858000"/>
              <a:gd name="connsiteX5" fmla="*/ 6600669 w 6645640"/>
              <a:gd name="connsiteY5" fmla="*/ 6858000 h 6858000"/>
              <a:gd name="connsiteX6" fmla="*/ 1315082 w 6645640"/>
              <a:gd name="connsiteY6" fmla="*/ 6858000 h 6858000"/>
              <a:gd name="connsiteX7" fmla="*/ 1307725 w 66456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45640" h="6858000">
                <a:moveTo>
                  <a:pt x="0" y="0"/>
                </a:moveTo>
                <a:lnTo>
                  <a:pt x="1315082" y="0"/>
                </a:lnTo>
                <a:lnTo>
                  <a:pt x="5292944" y="0"/>
                </a:lnTo>
                <a:lnTo>
                  <a:pt x="6645640" y="0"/>
                </a:lnTo>
                <a:lnTo>
                  <a:pt x="6645640" y="6858000"/>
                </a:lnTo>
                <a:lnTo>
                  <a:pt x="6600669" y="6858000"/>
                </a:lnTo>
                <a:lnTo>
                  <a:pt x="1315082" y="6858000"/>
                </a:lnTo>
                <a:lnTo>
                  <a:pt x="1307725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E1E0B669-4B81-314B-B237-29B03B68C51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5" name="Заголовок 16">
            <a:extLst>
              <a:ext uri="{FF2B5EF4-FFF2-40B4-BE49-F238E27FC236}">
                <a16:creationId xmlns:a16="http://schemas.microsoft.com/office/drawing/2014/main" id="{A5206CF0-26BD-0740-9F78-3A9C35798B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7" y="402822"/>
            <a:ext cx="441497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732C1E6C-0422-454C-81E2-52D60891D0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5279473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329BA9F8-54A0-E44E-93C7-F7EBC6A7E16F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A8226128-6444-A446-98BA-DF341CF84B1C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577DD2B-E2FC-2E45-8E26-31E358FB9FF3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70414040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опрос аудитории">
    <p:bg>
      <p:bgPr>
        <a:gradFill>
          <a:gsLst>
            <a:gs pos="95000">
              <a:schemeClr val="accent1"/>
            </a:gs>
            <a:gs pos="3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66864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9038BD53-8F25-5D40-9289-9C57CC794676}"/>
              </a:ext>
            </a:extLst>
          </p:cNvPr>
          <p:cNvSpPr txBox="1"/>
          <p:nvPr userDrawn="1"/>
        </p:nvSpPr>
        <p:spPr>
          <a:xfrm>
            <a:off x="340191" y="-392985"/>
            <a:ext cx="4493538" cy="85561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3000" b="1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</a:rPr>
              <a:t>?</a:t>
            </a:r>
            <a:endParaRPr lang="ru-RU" sz="53000" b="1" dirty="0"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alpha val="0"/>
                    </a:schemeClr>
                  </a:gs>
                </a:gsLst>
                <a:lin ang="5400000" scaled="1"/>
                <a:tileRect/>
              </a:gradFill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E21928B-D3A1-3D41-B06A-2C5B0B51AAC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747"/>
            <a:ext cx="1065725" cy="355419"/>
          </a:xfrm>
          <a:prstGeom prst="rect">
            <a:avLst/>
          </a:prstGeom>
        </p:spPr>
      </p:pic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1854FB96-6482-7040-AEC9-31343493737F}"/>
              </a:ext>
            </a:extLst>
          </p:cNvPr>
          <p:cNvGrpSpPr/>
          <p:nvPr userDrawn="1"/>
        </p:nvGrpSpPr>
        <p:grpSpPr>
          <a:xfrm>
            <a:off x="227165" y="3801795"/>
            <a:ext cx="361110" cy="371578"/>
            <a:chOff x="383279" y="3833472"/>
            <a:chExt cx="361110" cy="371578"/>
          </a:xfrm>
        </p:grpSpPr>
        <p:sp>
          <p:nvSpPr>
            <p:cNvPr id="20" name="Нашивка 19">
              <a:extLst>
                <a:ext uri="{FF2B5EF4-FFF2-40B4-BE49-F238E27FC236}">
                  <a16:creationId xmlns:a16="http://schemas.microsoft.com/office/drawing/2014/main" id="{4505EE8C-FEC0-2C41-972F-9B231977F75A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1" name="Нашивка 20">
              <a:extLst>
                <a:ext uri="{FF2B5EF4-FFF2-40B4-BE49-F238E27FC236}">
                  <a16:creationId xmlns:a16="http://schemas.microsoft.com/office/drawing/2014/main" id="{284537A5-A020-3B46-96F7-D48FB25F2653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22" name="Текст 4">
            <a:extLst>
              <a:ext uri="{FF2B5EF4-FFF2-40B4-BE49-F238E27FC236}">
                <a16:creationId xmlns:a16="http://schemas.microsoft.com/office/drawing/2014/main" id="{D19FA497-049D-C040-99F2-FE82689E4C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3275" y="4358993"/>
            <a:ext cx="8323263" cy="1841782"/>
          </a:xfr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Вопрос аудитории</a:t>
            </a:r>
          </a:p>
        </p:txBody>
      </p:sp>
      <p:sp>
        <p:nvSpPr>
          <p:cNvPr id="24" name="Текст 17">
            <a:extLst>
              <a:ext uri="{FF2B5EF4-FFF2-40B4-BE49-F238E27FC236}">
                <a16:creationId xmlns:a16="http://schemas.microsoft.com/office/drawing/2014/main" id="{50AAAD90-B1BF-E248-AE25-D0D473D138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3275" y="3620806"/>
            <a:ext cx="8323263" cy="738188"/>
          </a:xfrm>
        </p:spPr>
        <p:txBody>
          <a:bodyPr lIns="0" tIns="0" rIns="0" bIns="0" anchor="ctr">
            <a:normAutofit/>
          </a:bodyPr>
          <a:lstStyle>
            <a:lvl1pPr marL="0" indent="0">
              <a:buFontTx/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Вопрос аудитории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B0D6D61-9134-1C46-8701-29DD0B986DE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20604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дведем итоги">
    <p:bg>
      <p:bgPr>
        <a:gradFill>
          <a:gsLst>
            <a:gs pos="95000">
              <a:schemeClr val="accent1"/>
            </a:gs>
            <a:gs pos="3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7470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11F5C4-C9AA-4A48-8171-7867F8EF8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A03485A6-5304-D840-B8BB-5B8A3C47D176}"/>
              </a:ext>
            </a:extLst>
          </p:cNvPr>
          <p:cNvSpPr txBox="1"/>
          <p:nvPr userDrawn="1"/>
        </p:nvSpPr>
        <p:spPr>
          <a:xfrm>
            <a:off x="9126538" y="-392985"/>
            <a:ext cx="2448106" cy="824841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53000" b="1" dirty="0">
                <a:gradFill flip="none" rotWithShape="1">
                  <a:gsLst>
                    <a:gs pos="0">
                      <a:schemeClr val="accent3"/>
                    </a:gs>
                    <a:gs pos="100000">
                      <a:schemeClr val="accent3">
                        <a:alpha val="0"/>
                      </a:schemeClr>
                    </a:gs>
                  </a:gsLst>
                  <a:lin ang="5400000" scaled="1"/>
                  <a:tileRect/>
                </a:gradFill>
              </a:rPr>
              <a:t>!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E21928B-D3A1-3D41-B06A-2C5B0B51AAC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747"/>
            <a:ext cx="1065725" cy="355419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BB0D6D61-9134-1C46-8701-29DD0B986DE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02C8AA36-B22B-AE43-B38E-09068C80391A}"/>
              </a:ext>
            </a:extLst>
          </p:cNvPr>
          <p:cNvGrpSpPr/>
          <p:nvPr userDrawn="1"/>
        </p:nvGrpSpPr>
        <p:grpSpPr>
          <a:xfrm>
            <a:off x="227165" y="1353092"/>
            <a:ext cx="361110" cy="371578"/>
            <a:chOff x="383279" y="3833472"/>
            <a:chExt cx="361110" cy="371578"/>
          </a:xfrm>
        </p:grpSpPr>
        <p:sp>
          <p:nvSpPr>
            <p:cNvPr id="13" name="Нашивка 12">
              <a:extLst>
                <a:ext uri="{FF2B5EF4-FFF2-40B4-BE49-F238E27FC236}">
                  <a16:creationId xmlns:a16="http://schemas.microsoft.com/office/drawing/2014/main" id="{72F3EBDB-5783-E445-AFD7-0024F7012003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E2822CAD-EADF-BF4C-8DC3-8D9F65968E4F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Текст 17">
            <a:extLst>
              <a:ext uri="{FF2B5EF4-FFF2-40B4-BE49-F238E27FC236}">
                <a16:creationId xmlns:a16="http://schemas.microsoft.com/office/drawing/2014/main" id="{EC8B8A80-E4D6-6242-B68B-0BFB25E1BC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3275" y="1319598"/>
            <a:ext cx="8323263" cy="443198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Подведем итоги</a:t>
            </a:r>
          </a:p>
        </p:txBody>
      </p:sp>
    </p:spTree>
    <p:extLst>
      <p:ext uri="{BB962C8B-B14F-4D97-AF65-F5344CB8AC3E}">
        <p14:creationId xmlns:p14="http://schemas.microsoft.com/office/powerpoint/2010/main" val="8158041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горой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2F44F8C-947C-1644-A927-26E4B6403B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81297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C1B4EF-64D7-894B-8937-1E4CB50F3D07}"/>
              </a:ext>
            </a:extLst>
          </p:cNvPr>
          <p:cNvSpPr txBox="1"/>
          <p:nvPr userDrawn="1"/>
        </p:nvSpPr>
        <p:spPr>
          <a:xfrm>
            <a:off x="11049960" y="6462296"/>
            <a:ext cx="338765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r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олилиния 7">
            <a:extLst>
              <a:ext uri="{FF2B5EF4-FFF2-40B4-BE49-F238E27FC236}">
                <a16:creationId xmlns:a16="http://schemas.microsoft.com/office/drawing/2014/main" id="{435A7BF7-A0FA-AA42-AC3A-05BE8E91E4EB}"/>
              </a:ext>
            </a:extLst>
          </p:cNvPr>
          <p:cNvSpPr/>
          <p:nvPr userDrawn="1"/>
        </p:nvSpPr>
        <p:spPr>
          <a:xfrm>
            <a:off x="-1" y="2108516"/>
            <a:ext cx="6460790" cy="4756444"/>
          </a:xfrm>
          <a:custGeom>
            <a:avLst/>
            <a:gdLst>
              <a:gd name="connsiteX0" fmla="*/ 1364852 w 6460790"/>
              <a:gd name="connsiteY0" fmla="*/ 0 h 4756444"/>
              <a:gd name="connsiteX1" fmla="*/ 2305876 w 6460790"/>
              <a:gd name="connsiteY1" fmla="*/ 500338 h 4756444"/>
              <a:gd name="connsiteX2" fmla="*/ 2317966 w 6460790"/>
              <a:gd name="connsiteY2" fmla="*/ 522612 h 4756444"/>
              <a:gd name="connsiteX3" fmla="*/ 2334528 w 6460790"/>
              <a:gd name="connsiteY3" fmla="*/ 469258 h 4756444"/>
              <a:gd name="connsiteX4" fmla="*/ 2779103 w 6460790"/>
              <a:gd name="connsiteY4" fmla="*/ 174573 h 4756444"/>
              <a:gd name="connsiteX5" fmla="*/ 3251793 w 6460790"/>
              <a:gd name="connsiteY5" fmla="*/ 559826 h 4756444"/>
              <a:gd name="connsiteX6" fmla="*/ 3256247 w 6460790"/>
              <a:gd name="connsiteY6" fmla="*/ 604013 h 4756444"/>
              <a:gd name="connsiteX7" fmla="*/ 3328199 w 6460790"/>
              <a:gd name="connsiteY7" fmla="*/ 577678 h 4756444"/>
              <a:gd name="connsiteX8" fmla="*/ 3585139 w 6460790"/>
              <a:gd name="connsiteY8" fmla="*/ 538832 h 4756444"/>
              <a:gd name="connsiteX9" fmla="*/ 4449183 w 6460790"/>
              <a:gd name="connsiteY9" fmla="*/ 1402876 h 4756444"/>
              <a:gd name="connsiteX10" fmla="*/ 4434754 w 6460790"/>
              <a:gd name="connsiteY10" fmla="*/ 1546011 h 4756444"/>
              <a:gd name="connsiteX11" fmla="*/ 4468094 w 6460790"/>
              <a:gd name="connsiteY11" fmla="*/ 1523927 h 4756444"/>
              <a:gd name="connsiteX12" fmla="*/ 4870315 w 6460790"/>
              <a:gd name="connsiteY12" fmla="*/ 1416867 h 4756444"/>
              <a:gd name="connsiteX13" fmla="*/ 5678383 w 6460790"/>
              <a:gd name="connsiteY13" fmla="*/ 2224935 h 4756444"/>
              <a:gd name="connsiteX14" fmla="*/ 5673958 w 6460790"/>
              <a:gd name="connsiteY14" fmla="*/ 2268836 h 4756444"/>
              <a:gd name="connsiteX15" fmla="*/ 5799483 w 6460790"/>
              <a:gd name="connsiteY15" fmla="*/ 2256182 h 4756444"/>
              <a:gd name="connsiteX16" fmla="*/ 6460790 w 6460790"/>
              <a:gd name="connsiteY16" fmla="*/ 2917489 h 4756444"/>
              <a:gd name="connsiteX17" fmla="*/ 6056894 w 6460790"/>
              <a:gd name="connsiteY17" fmla="*/ 3526828 h 4756444"/>
              <a:gd name="connsiteX18" fmla="*/ 5941507 w 6460790"/>
              <a:gd name="connsiteY18" fmla="*/ 3562646 h 4756444"/>
              <a:gd name="connsiteX19" fmla="*/ 5945079 w 6460790"/>
              <a:gd name="connsiteY19" fmla="*/ 3643478 h 4756444"/>
              <a:gd name="connsiteX20" fmla="*/ 5497696 w 6460790"/>
              <a:gd name="connsiteY20" fmla="*/ 4723556 h 4756444"/>
              <a:gd name="connsiteX21" fmla="*/ 5461510 w 6460790"/>
              <a:gd name="connsiteY21" fmla="*/ 4756444 h 4756444"/>
              <a:gd name="connsiteX22" fmla="*/ 3373726 w 6460790"/>
              <a:gd name="connsiteY22" fmla="*/ 4756444 h 4756444"/>
              <a:gd name="connsiteX23" fmla="*/ 3337540 w 6460790"/>
              <a:gd name="connsiteY23" fmla="*/ 4723556 h 4756444"/>
              <a:gd name="connsiteX24" fmla="*/ 3300218 w 6460790"/>
              <a:gd name="connsiteY24" fmla="*/ 4682491 h 4756444"/>
              <a:gd name="connsiteX25" fmla="*/ 3214236 w 6460790"/>
              <a:gd name="connsiteY25" fmla="*/ 4746788 h 4756444"/>
              <a:gd name="connsiteX26" fmla="*/ 3197436 w 6460790"/>
              <a:gd name="connsiteY26" fmla="*/ 4756444 h 4756444"/>
              <a:gd name="connsiteX27" fmla="*/ 0 w 6460790"/>
              <a:gd name="connsiteY27" fmla="*/ 4756444 h 4756444"/>
              <a:gd name="connsiteX28" fmla="*/ 0 w 6460790"/>
              <a:gd name="connsiteY28" fmla="*/ 788938 h 4756444"/>
              <a:gd name="connsiteX29" fmla="*/ 47629 w 6460790"/>
              <a:gd name="connsiteY29" fmla="*/ 781669 h 4756444"/>
              <a:gd name="connsiteX30" fmla="*/ 138597 w 6460790"/>
              <a:gd name="connsiteY30" fmla="*/ 777075 h 4756444"/>
              <a:gd name="connsiteX31" fmla="*/ 274091 w 6460790"/>
              <a:gd name="connsiteY31" fmla="*/ 787327 h 4756444"/>
              <a:gd name="connsiteX32" fmla="*/ 283886 w 6460790"/>
              <a:gd name="connsiteY32" fmla="*/ 789584 h 4756444"/>
              <a:gd name="connsiteX33" fmla="*/ 319197 w 6460790"/>
              <a:gd name="connsiteY33" fmla="*/ 693107 h 4756444"/>
              <a:gd name="connsiteX34" fmla="*/ 1364852 w 6460790"/>
              <a:gd name="connsiteY34" fmla="*/ 0 h 4756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6460790" h="4756444">
                <a:moveTo>
                  <a:pt x="1364852" y="0"/>
                </a:moveTo>
                <a:cubicBezTo>
                  <a:pt x="1756573" y="0"/>
                  <a:pt x="2101938" y="198470"/>
                  <a:pt x="2305876" y="500338"/>
                </a:cubicBezTo>
                <a:lnTo>
                  <a:pt x="2317966" y="522612"/>
                </a:lnTo>
                <a:lnTo>
                  <a:pt x="2334528" y="469258"/>
                </a:lnTo>
                <a:cubicBezTo>
                  <a:pt x="2407774" y="296084"/>
                  <a:pt x="2579248" y="174573"/>
                  <a:pt x="2779103" y="174573"/>
                </a:cubicBezTo>
                <a:cubicBezTo>
                  <a:pt x="3012267" y="174573"/>
                  <a:pt x="3206802" y="339963"/>
                  <a:pt x="3251793" y="559826"/>
                </a:cubicBezTo>
                <a:lnTo>
                  <a:pt x="3256247" y="604013"/>
                </a:lnTo>
                <a:lnTo>
                  <a:pt x="3328199" y="577678"/>
                </a:lnTo>
                <a:cubicBezTo>
                  <a:pt x="3409366" y="552432"/>
                  <a:pt x="3495665" y="538832"/>
                  <a:pt x="3585139" y="538832"/>
                </a:cubicBezTo>
                <a:cubicBezTo>
                  <a:pt x="4062337" y="538832"/>
                  <a:pt x="4449183" y="925678"/>
                  <a:pt x="4449183" y="1402876"/>
                </a:cubicBezTo>
                <a:lnTo>
                  <a:pt x="4434754" y="1546011"/>
                </a:lnTo>
                <a:lnTo>
                  <a:pt x="4468094" y="1523927"/>
                </a:lnTo>
                <a:cubicBezTo>
                  <a:pt x="4586539" y="1455819"/>
                  <a:pt x="4723878" y="1416867"/>
                  <a:pt x="4870315" y="1416867"/>
                </a:cubicBezTo>
                <a:cubicBezTo>
                  <a:pt x="5316599" y="1416867"/>
                  <a:pt x="5678383" y="1778651"/>
                  <a:pt x="5678383" y="2224935"/>
                </a:cubicBezTo>
                <a:lnTo>
                  <a:pt x="5673958" y="2268836"/>
                </a:lnTo>
                <a:lnTo>
                  <a:pt x="5799483" y="2256182"/>
                </a:lnTo>
                <a:cubicBezTo>
                  <a:pt x="6164713" y="2256182"/>
                  <a:pt x="6460790" y="2552259"/>
                  <a:pt x="6460790" y="2917489"/>
                </a:cubicBezTo>
                <a:cubicBezTo>
                  <a:pt x="6460790" y="3191412"/>
                  <a:pt x="6294247" y="3426436"/>
                  <a:pt x="6056894" y="3526828"/>
                </a:cubicBezTo>
                <a:lnTo>
                  <a:pt x="5941507" y="3562646"/>
                </a:lnTo>
                <a:lnTo>
                  <a:pt x="5945079" y="3643478"/>
                </a:lnTo>
                <a:cubicBezTo>
                  <a:pt x="5945079" y="4065275"/>
                  <a:pt x="5774112" y="4447140"/>
                  <a:pt x="5497696" y="4723556"/>
                </a:cubicBezTo>
                <a:lnTo>
                  <a:pt x="5461510" y="4756444"/>
                </a:lnTo>
                <a:lnTo>
                  <a:pt x="3373726" y="4756444"/>
                </a:lnTo>
                <a:lnTo>
                  <a:pt x="3337540" y="4723556"/>
                </a:lnTo>
                <a:lnTo>
                  <a:pt x="3300218" y="4682491"/>
                </a:lnTo>
                <a:lnTo>
                  <a:pt x="3214236" y="4746788"/>
                </a:lnTo>
                <a:lnTo>
                  <a:pt x="3197436" y="4756444"/>
                </a:lnTo>
                <a:lnTo>
                  <a:pt x="0" y="4756444"/>
                </a:lnTo>
                <a:lnTo>
                  <a:pt x="0" y="788938"/>
                </a:lnTo>
                <a:lnTo>
                  <a:pt x="47629" y="781669"/>
                </a:lnTo>
                <a:cubicBezTo>
                  <a:pt x="77539" y="778631"/>
                  <a:pt x="107886" y="777075"/>
                  <a:pt x="138597" y="777075"/>
                </a:cubicBezTo>
                <a:cubicBezTo>
                  <a:pt x="184663" y="777075"/>
                  <a:pt x="229912" y="780576"/>
                  <a:pt x="274091" y="787327"/>
                </a:cubicBezTo>
                <a:lnTo>
                  <a:pt x="283886" y="789584"/>
                </a:lnTo>
                <a:lnTo>
                  <a:pt x="319197" y="693107"/>
                </a:lnTo>
                <a:cubicBezTo>
                  <a:pt x="491474" y="285797"/>
                  <a:pt x="894787" y="0"/>
                  <a:pt x="13648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3802AD1-766A-DE45-9A3D-BBC3CBD18CC0}"/>
              </a:ext>
            </a:extLst>
          </p:cNvPr>
          <p:cNvSpPr txBox="1"/>
          <p:nvPr userDrawn="1"/>
        </p:nvSpPr>
        <p:spPr>
          <a:xfrm>
            <a:off x="9388251" y="1920638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ru-RU" dirty="0"/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59B9762A-D661-004B-AA68-25A2ABE391B5}"/>
              </a:ext>
            </a:extLst>
          </p:cNvPr>
          <p:cNvGrpSpPr/>
          <p:nvPr userDrawn="1"/>
        </p:nvGrpSpPr>
        <p:grpSpPr>
          <a:xfrm>
            <a:off x="2743200" y="3128963"/>
            <a:ext cx="9458325" cy="3771902"/>
            <a:chOff x="2743200" y="3128963"/>
            <a:chExt cx="9458325" cy="3771902"/>
          </a:xfrm>
        </p:grpSpPr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id="{245F897D-F2E4-AE4F-AB0A-7347E2F985FF}"/>
                </a:ext>
              </a:extLst>
            </p:cNvPr>
            <p:cNvSpPr/>
            <p:nvPr/>
          </p:nvSpPr>
          <p:spPr>
            <a:xfrm>
              <a:off x="2786063" y="3128963"/>
              <a:ext cx="9415462" cy="3743325"/>
            </a:xfrm>
            <a:custGeom>
              <a:avLst/>
              <a:gdLst>
                <a:gd name="connsiteX0" fmla="*/ 0 w 9415462"/>
                <a:gd name="connsiteY0" fmla="*/ 3743325 h 3743325"/>
                <a:gd name="connsiteX1" fmla="*/ 1557337 w 9415462"/>
                <a:gd name="connsiteY1" fmla="*/ 2386012 h 3743325"/>
                <a:gd name="connsiteX2" fmla="*/ 2128837 w 9415462"/>
                <a:gd name="connsiteY2" fmla="*/ 2686050 h 3743325"/>
                <a:gd name="connsiteX3" fmla="*/ 3629025 w 9415462"/>
                <a:gd name="connsiteY3" fmla="*/ 957262 h 3743325"/>
                <a:gd name="connsiteX4" fmla="*/ 4300537 w 9415462"/>
                <a:gd name="connsiteY4" fmla="*/ 1600200 h 3743325"/>
                <a:gd name="connsiteX5" fmla="*/ 5715000 w 9415462"/>
                <a:gd name="connsiteY5" fmla="*/ 0 h 3743325"/>
                <a:gd name="connsiteX6" fmla="*/ 7100887 w 9415462"/>
                <a:gd name="connsiteY6" fmla="*/ 1243012 h 3743325"/>
                <a:gd name="connsiteX7" fmla="*/ 8258175 w 9415462"/>
                <a:gd name="connsiteY7" fmla="*/ 1042987 h 3743325"/>
                <a:gd name="connsiteX8" fmla="*/ 9172575 w 9415462"/>
                <a:gd name="connsiteY8" fmla="*/ 1671637 h 3743325"/>
                <a:gd name="connsiteX9" fmla="*/ 9401175 w 9415462"/>
                <a:gd name="connsiteY9" fmla="*/ 1585912 h 3743325"/>
                <a:gd name="connsiteX10" fmla="*/ 9415462 w 9415462"/>
                <a:gd name="connsiteY10" fmla="*/ 3743325 h 3743325"/>
                <a:gd name="connsiteX11" fmla="*/ 0 w 9415462"/>
                <a:gd name="connsiteY11" fmla="*/ 3743325 h 3743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415462" h="3743325">
                  <a:moveTo>
                    <a:pt x="0" y="3743325"/>
                  </a:moveTo>
                  <a:lnTo>
                    <a:pt x="1557337" y="2386012"/>
                  </a:lnTo>
                  <a:lnTo>
                    <a:pt x="2128837" y="2686050"/>
                  </a:lnTo>
                  <a:lnTo>
                    <a:pt x="3629025" y="957262"/>
                  </a:lnTo>
                  <a:lnTo>
                    <a:pt x="4300537" y="1600200"/>
                  </a:lnTo>
                  <a:lnTo>
                    <a:pt x="5715000" y="0"/>
                  </a:lnTo>
                  <a:lnTo>
                    <a:pt x="7100887" y="1243012"/>
                  </a:lnTo>
                  <a:lnTo>
                    <a:pt x="8258175" y="1042987"/>
                  </a:lnTo>
                  <a:lnTo>
                    <a:pt x="9172575" y="1671637"/>
                  </a:lnTo>
                  <a:lnTo>
                    <a:pt x="9401175" y="1585912"/>
                  </a:lnTo>
                  <a:cubicBezTo>
                    <a:pt x="9405937" y="2305050"/>
                    <a:pt x="9410700" y="3024187"/>
                    <a:pt x="9415462" y="3743325"/>
                  </a:cubicBezTo>
                  <a:lnTo>
                    <a:pt x="0" y="3743325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олилиния 13">
              <a:extLst>
                <a:ext uri="{FF2B5EF4-FFF2-40B4-BE49-F238E27FC236}">
                  <a16:creationId xmlns:a16="http://schemas.microsoft.com/office/drawing/2014/main" id="{0B32C7D0-36EF-DE49-A525-8E4F0D44B3BD}"/>
                </a:ext>
              </a:extLst>
            </p:cNvPr>
            <p:cNvSpPr/>
            <p:nvPr/>
          </p:nvSpPr>
          <p:spPr>
            <a:xfrm>
              <a:off x="4347396" y="5523567"/>
              <a:ext cx="567770" cy="865510"/>
            </a:xfrm>
            <a:custGeom>
              <a:avLst/>
              <a:gdLst>
                <a:gd name="connsiteX0" fmla="*/ 0 w 521677"/>
                <a:gd name="connsiteY0" fmla="*/ 0 h 849923"/>
                <a:gd name="connsiteX1" fmla="*/ 263769 w 521677"/>
                <a:gd name="connsiteY1" fmla="*/ 310661 h 849923"/>
                <a:gd name="connsiteX2" fmla="*/ 23446 w 521677"/>
                <a:gd name="connsiteY2" fmla="*/ 398584 h 849923"/>
                <a:gd name="connsiteX3" fmla="*/ 263769 w 521677"/>
                <a:gd name="connsiteY3" fmla="*/ 849923 h 849923"/>
                <a:gd name="connsiteX4" fmla="*/ 304800 w 521677"/>
                <a:gd name="connsiteY4" fmla="*/ 492369 h 849923"/>
                <a:gd name="connsiteX5" fmla="*/ 521677 w 521677"/>
                <a:gd name="connsiteY5" fmla="*/ 416169 h 849923"/>
                <a:gd name="connsiteX6" fmla="*/ 515816 w 521677"/>
                <a:gd name="connsiteY6" fmla="*/ 252046 h 849923"/>
                <a:gd name="connsiteX7" fmla="*/ 0 w 521677"/>
                <a:gd name="connsiteY7" fmla="*/ 0 h 849923"/>
                <a:gd name="connsiteX0" fmla="*/ 0 w 536597"/>
                <a:gd name="connsiteY0" fmla="*/ 0 h 849923"/>
                <a:gd name="connsiteX1" fmla="*/ 263769 w 536597"/>
                <a:gd name="connsiteY1" fmla="*/ 310661 h 849923"/>
                <a:gd name="connsiteX2" fmla="*/ 23446 w 536597"/>
                <a:gd name="connsiteY2" fmla="*/ 398584 h 849923"/>
                <a:gd name="connsiteX3" fmla="*/ 263769 w 536597"/>
                <a:gd name="connsiteY3" fmla="*/ 849923 h 849923"/>
                <a:gd name="connsiteX4" fmla="*/ 304800 w 536597"/>
                <a:gd name="connsiteY4" fmla="*/ 492369 h 849923"/>
                <a:gd name="connsiteX5" fmla="*/ 521677 w 536597"/>
                <a:gd name="connsiteY5" fmla="*/ 416169 h 849923"/>
                <a:gd name="connsiteX6" fmla="*/ 536597 w 536597"/>
                <a:gd name="connsiteY6" fmla="*/ 272828 h 849923"/>
                <a:gd name="connsiteX7" fmla="*/ 0 w 536597"/>
                <a:gd name="connsiteY7" fmla="*/ 0 h 849923"/>
                <a:gd name="connsiteX0" fmla="*/ 0 w 567770"/>
                <a:gd name="connsiteY0" fmla="*/ 0 h 865510"/>
                <a:gd name="connsiteX1" fmla="*/ 294942 w 567770"/>
                <a:gd name="connsiteY1" fmla="*/ 326248 h 865510"/>
                <a:gd name="connsiteX2" fmla="*/ 54619 w 567770"/>
                <a:gd name="connsiteY2" fmla="*/ 414171 h 865510"/>
                <a:gd name="connsiteX3" fmla="*/ 294942 w 567770"/>
                <a:gd name="connsiteY3" fmla="*/ 865510 h 865510"/>
                <a:gd name="connsiteX4" fmla="*/ 335973 w 567770"/>
                <a:gd name="connsiteY4" fmla="*/ 507956 h 865510"/>
                <a:gd name="connsiteX5" fmla="*/ 552850 w 567770"/>
                <a:gd name="connsiteY5" fmla="*/ 431756 h 865510"/>
                <a:gd name="connsiteX6" fmla="*/ 567770 w 567770"/>
                <a:gd name="connsiteY6" fmla="*/ 288415 h 865510"/>
                <a:gd name="connsiteX7" fmla="*/ 0 w 567770"/>
                <a:gd name="connsiteY7" fmla="*/ 0 h 86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7770" h="865510">
                  <a:moveTo>
                    <a:pt x="0" y="0"/>
                  </a:moveTo>
                  <a:lnTo>
                    <a:pt x="294942" y="326248"/>
                  </a:lnTo>
                  <a:lnTo>
                    <a:pt x="54619" y="414171"/>
                  </a:lnTo>
                  <a:lnTo>
                    <a:pt x="294942" y="865510"/>
                  </a:lnTo>
                  <a:lnTo>
                    <a:pt x="335973" y="507956"/>
                  </a:lnTo>
                  <a:lnTo>
                    <a:pt x="552850" y="431756"/>
                  </a:lnTo>
                  <a:lnTo>
                    <a:pt x="567770" y="2884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  <a:beve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олилиния 14">
              <a:extLst>
                <a:ext uri="{FF2B5EF4-FFF2-40B4-BE49-F238E27FC236}">
                  <a16:creationId xmlns:a16="http://schemas.microsoft.com/office/drawing/2014/main" id="{C45EBF49-D586-DB41-8FBE-08934BC9980A}"/>
                </a:ext>
              </a:extLst>
            </p:cNvPr>
            <p:cNvSpPr/>
            <p:nvPr/>
          </p:nvSpPr>
          <p:spPr>
            <a:xfrm>
              <a:off x="6422382" y="4112934"/>
              <a:ext cx="2217526" cy="2434403"/>
            </a:xfrm>
            <a:custGeom>
              <a:avLst/>
              <a:gdLst>
                <a:gd name="connsiteX0" fmla="*/ 0 w 2186354"/>
                <a:gd name="connsiteY0" fmla="*/ 0 h 2403230"/>
                <a:gd name="connsiteX1" fmla="*/ 234461 w 2186354"/>
                <a:gd name="connsiteY1" fmla="*/ 674077 h 2403230"/>
                <a:gd name="connsiteX2" fmla="*/ 76200 w 2186354"/>
                <a:gd name="connsiteY2" fmla="*/ 668215 h 2403230"/>
                <a:gd name="connsiteX3" fmla="*/ 281354 w 2186354"/>
                <a:gd name="connsiteY3" fmla="*/ 1119554 h 2403230"/>
                <a:gd name="connsiteX4" fmla="*/ 41031 w 2186354"/>
                <a:gd name="connsiteY4" fmla="*/ 1137138 h 2403230"/>
                <a:gd name="connsiteX5" fmla="*/ 527538 w 2186354"/>
                <a:gd name="connsiteY5" fmla="*/ 1565030 h 2403230"/>
                <a:gd name="connsiteX6" fmla="*/ 2186354 w 2186354"/>
                <a:gd name="connsiteY6" fmla="*/ 2403230 h 2403230"/>
                <a:gd name="connsiteX7" fmla="*/ 738554 w 2186354"/>
                <a:gd name="connsiteY7" fmla="*/ 1500554 h 2403230"/>
                <a:gd name="connsiteX8" fmla="*/ 1019908 w 2186354"/>
                <a:gd name="connsiteY8" fmla="*/ 973015 h 2403230"/>
                <a:gd name="connsiteX9" fmla="*/ 674077 w 2186354"/>
                <a:gd name="connsiteY9" fmla="*/ 855784 h 2403230"/>
                <a:gd name="connsiteX10" fmla="*/ 621323 w 2186354"/>
                <a:gd name="connsiteY10" fmla="*/ 568569 h 2403230"/>
                <a:gd name="connsiteX11" fmla="*/ 0 w 2186354"/>
                <a:gd name="connsiteY11" fmla="*/ 0 h 2403230"/>
                <a:gd name="connsiteX0" fmla="*/ 0 w 2217526"/>
                <a:gd name="connsiteY0" fmla="*/ 0 h 2434403"/>
                <a:gd name="connsiteX1" fmla="*/ 265633 w 2217526"/>
                <a:gd name="connsiteY1" fmla="*/ 705250 h 2434403"/>
                <a:gd name="connsiteX2" fmla="*/ 107372 w 2217526"/>
                <a:gd name="connsiteY2" fmla="*/ 699388 h 2434403"/>
                <a:gd name="connsiteX3" fmla="*/ 312526 w 2217526"/>
                <a:gd name="connsiteY3" fmla="*/ 1150727 h 2434403"/>
                <a:gd name="connsiteX4" fmla="*/ 72203 w 2217526"/>
                <a:gd name="connsiteY4" fmla="*/ 1168311 h 2434403"/>
                <a:gd name="connsiteX5" fmla="*/ 558710 w 2217526"/>
                <a:gd name="connsiteY5" fmla="*/ 1596203 h 2434403"/>
                <a:gd name="connsiteX6" fmla="*/ 2217526 w 2217526"/>
                <a:gd name="connsiteY6" fmla="*/ 2434403 h 2434403"/>
                <a:gd name="connsiteX7" fmla="*/ 769726 w 2217526"/>
                <a:gd name="connsiteY7" fmla="*/ 1531727 h 2434403"/>
                <a:gd name="connsiteX8" fmla="*/ 1051080 w 2217526"/>
                <a:gd name="connsiteY8" fmla="*/ 1004188 h 2434403"/>
                <a:gd name="connsiteX9" fmla="*/ 705249 w 2217526"/>
                <a:gd name="connsiteY9" fmla="*/ 886957 h 2434403"/>
                <a:gd name="connsiteX10" fmla="*/ 652495 w 2217526"/>
                <a:gd name="connsiteY10" fmla="*/ 599742 h 2434403"/>
                <a:gd name="connsiteX11" fmla="*/ 0 w 2217526"/>
                <a:gd name="connsiteY11" fmla="*/ 0 h 2434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7526" h="2434403">
                  <a:moveTo>
                    <a:pt x="0" y="0"/>
                  </a:moveTo>
                  <a:lnTo>
                    <a:pt x="265633" y="705250"/>
                  </a:lnTo>
                  <a:lnTo>
                    <a:pt x="107372" y="699388"/>
                  </a:lnTo>
                  <a:lnTo>
                    <a:pt x="312526" y="1150727"/>
                  </a:lnTo>
                  <a:lnTo>
                    <a:pt x="72203" y="1168311"/>
                  </a:lnTo>
                  <a:lnTo>
                    <a:pt x="558710" y="1596203"/>
                  </a:lnTo>
                  <a:lnTo>
                    <a:pt x="2217526" y="2434403"/>
                  </a:lnTo>
                  <a:lnTo>
                    <a:pt x="769726" y="1531727"/>
                  </a:lnTo>
                  <a:lnTo>
                    <a:pt x="1051080" y="1004188"/>
                  </a:lnTo>
                  <a:lnTo>
                    <a:pt x="705249" y="886957"/>
                  </a:lnTo>
                  <a:lnTo>
                    <a:pt x="652495" y="5997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  <a:beve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олилиния 15">
              <a:extLst>
                <a:ext uri="{FF2B5EF4-FFF2-40B4-BE49-F238E27FC236}">
                  <a16:creationId xmlns:a16="http://schemas.microsoft.com/office/drawing/2014/main" id="{8DCAA507-2613-8B49-A2D7-5AAB45B6277A}"/>
                </a:ext>
              </a:extLst>
            </p:cNvPr>
            <p:cNvSpPr/>
            <p:nvPr/>
          </p:nvSpPr>
          <p:spPr>
            <a:xfrm>
              <a:off x="8523875" y="3160566"/>
              <a:ext cx="1710371" cy="2783033"/>
            </a:xfrm>
            <a:custGeom>
              <a:avLst/>
              <a:gdLst>
                <a:gd name="connsiteX0" fmla="*/ 0 w 1746738"/>
                <a:gd name="connsiteY0" fmla="*/ 0 h 2819400"/>
                <a:gd name="connsiteX1" fmla="*/ 504092 w 1746738"/>
                <a:gd name="connsiteY1" fmla="*/ 978877 h 2819400"/>
                <a:gd name="connsiteX2" fmla="*/ 87923 w 1746738"/>
                <a:gd name="connsiteY2" fmla="*/ 1031631 h 2819400"/>
                <a:gd name="connsiteX3" fmla="*/ 1277815 w 1746738"/>
                <a:gd name="connsiteY3" fmla="*/ 2174631 h 2819400"/>
                <a:gd name="connsiteX4" fmla="*/ 1746738 w 1746738"/>
                <a:gd name="connsiteY4" fmla="*/ 2819400 h 2819400"/>
                <a:gd name="connsiteX5" fmla="*/ 1336430 w 1746738"/>
                <a:gd name="connsiteY5" fmla="*/ 1811215 h 2819400"/>
                <a:gd name="connsiteX6" fmla="*/ 1506415 w 1746738"/>
                <a:gd name="connsiteY6" fmla="*/ 1535723 h 2819400"/>
                <a:gd name="connsiteX7" fmla="*/ 1383323 w 1746738"/>
                <a:gd name="connsiteY7" fmla="*/ 1236785 h 2819400"/>
                <a:gd name="connsiteX8" fmla="*/ 0 w 1746738"/>
                <a:gd name="connsiteY8" fmla="*/ 0 h 2819400"/>
                <a:gd name="connsiteX0" fmla="*/ 0 w 1720761"/>
                <a:gd name="connsiteY0" fmla="*/ 0 h 2767446"/>
                <a:gd name="connsiteX1" fmla="*/ 478115 w 1720761"/>
                <a:gd name="connsiteY1" fmla="*/ 926923 h 2767446"/>
                <a:gd name="connsiteX2" fmla="*/ 61946 w 1720761"/>
                <a:gd name="connsiteY2" fmla="*/ 979677 h 2767446"/>
                <a:gd name="connsiteX3" fmla="*/ 1251838 w 1720761"/>
                <a:gd name="connsiteY3" fmla="*/ 2122677 h 2767446"/>
                <a:gd name="connsiteX4" fmla="*/ 1720761 w 1720761"/>
                <a:gd name="connsiteY4" fmla="*/ 2767446 h 2767446"/>
                <a:gd name="connsiteX5" fmla="*/ 1310453 w 1720761"/>
                <a:gd name="connsiteY5" fmla="*/ 1759261 h 2767446"/>
                <a:gd name="connsiteX6" fmla="*/ 1480438 w 1720761"/>
                <a:gd name="connsiteY6" fmla="*/ 1483769 h 2767446"/>
                <a:gd name="connsiteX7" fmla="*/ 1357346 w 1720761"/>
                <a:gd name="connsiteY7" fmla="*/ 1184831 h 2767446"/>
                <a:gd name="connsiteX8" fmla="*/ 0 w 1720761"/>
                <a:gd name="connsiteY8" fmla="*/ 0 h 2767446"/>
                <a:gd name="connsiteX0" fmla="*/ 0 w 1710371"/>
                <a:gd name="connsiteY0" fmla="*/ 0 h 2783033"/>
                <a:gd name="connsiteX1" fmla="*/ 467725 w 1710371"/>
                <a:gd name="connsiteY1" fmla="*/ 942510 h 2783033"/>
                <a:gd name="connsiteX2" fmla="*/ 51556 w 1710371"/>
                <a:gd name="connsiteY2" fmla="*/ 995264 h 2783033"/>
                <a:gd name="connsiteX3" fmla="*/ 1241448 w 1710371"/>
                <a:gd name="connsiteY3" fmla="*/ 2138264 h 2783033"/>
                <a:gd name="connsiteX4" fmla="*/ 1710371 w 1710371"/>
                <a:gd name="connsiteY4" fmla="*/ 2783033 h 2783033"/>
                <a:gd name="connsiteX5" fmla="*/ 1300063 w 1710371"/>
                <a:gd name="connsiteY5" fmla="*/ 1774848 h 2783033"/>
                <a:gd name="connsiteX6" fmla="*/ 1470048 w 1710371"/>
                <a:gd name="connsiteY6" fmla="*/ 1499356 h 2783033"/>
                <a:gd name="connsiteX7" fmla="*/ 1346956 w 1710371"/>
                <a:gd name="connsiteY7" fmla="*/ 1200418 h 2783033"/>
                <a:gd name="connsiteX8" fmla="*/ 0 w 1710371"/>
                <a:gd name="connsiteY8" fmla="*/ 0 h 278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10371" h="2783033">
                  <a:moveTo>
                    <a:pt x="0" y="0"/>
                  </a:moveTo>
                  <a:lnTo>
                    <a:pt x="467725" y="942510"/>
                  </a:lnTo>
                  <a:lnTo>
                    <a:pt x="51556" y="995264"/>
                  </a:lnTo>
                  <a:lnTo>
                    <a:pt x="1241448" y="2138264"/>
                  </a:lnTo>
                  <a:lnTo>
                    <a:pt x="1710371" y="2783033"/>
                  </a:lnTo>
                  <a:lnTo>
                    <a:pt x="1300063" y="1774848"/>
                  </a:lnTo>
                  <a:lnTo>
                    <a:pt x="1470048" y="1499356"/>
                  </a:lnTo>
                  <a:lnTo>
                    <a:pt x="1346956" y="12004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  <a:beve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Полилиния 17">
              <a:extLst>
                <a:ext uri="{FF2B5EF4-FFF2-40B4-BE49-F238E27FC236}">
                  <a16:creationId xmlns:a16="http://schemas.microsoft.com/office/drawing/2014/main" id="{9A001011-D375-8840-8EBF-070E544C735C}"/>
                </a:ext>
              </a:extLst>
            </p:cNvPr>
            <p:cNvSpPr/>
            <p:nvPr/>
          </p:nvSpPr>
          <p:spPr>
            <a:xfrm>
              <a:off x="10756900" y="4172978"/>
              <a:ext cx="1438174" cy="2692776"/>
            </a:xfrm>
            <a:custGeom>
              <a:avLst/>
              <a:gdLst>
                <a:gd name="connsiteX0" fmla="*/ 266700 w 1447800"/>
                <a:gd name="connsiteY0" fmla="*/ 0 h 2730500"/>
                <a:gd name="connsiteX1" fmla="*/ 317500 w 1447800"/>
                <a:gd name="connsiteY1" fmla="*/ 698500 h 2730500"/>
                <a:gd name="connsiteX2" fmla="*/ 0 w 1447800"/>
                <a:gd name="connsiteY2" fmla="*/ 749300 h 2730500"/>
                <a:gd name="connsiteX3" fmla="*/ 508000 w 1447800"/>
                <a:gd name="connsiteY3" fmla="*/ 1892300 h 2730500"/>
                <a:gd name="connsiteX4" fmla="*/ 1295400 w 1447800"/>
                <a:gd name="connsiteY4" fmla="*/ 2463800 h 2730500"/>
                <a:gd name="connsiteX5" fmla="*/ 1447800 w 1447800"/>
                <a:gd name="connsiteY5" fmla="*/ 2730500 h 2730500"/>
                <a:gd name="connsiteX6" fmla="*/ 1384300 w 1447800"/>
                <a:gd name="connsiteY6" fmla="*/ 2222500 h 2730500"/>
                <a:gd name="connsiteX7" fmla="*/ 1066800 w 1447800"/>
                <a:gd name="connsiteY7" fmla="*/ 1803400 h 2730500"/>
                <a:gd name="connsiteX8" fmla="*/ 1295400 w 1447800"/>
                <a:gd name="connsiteY8" fmla="*/ 1473200 h 2730500"/>
                <a:gd name="connsiteX9" fmla="*/ 1206500 w 1447800"/>
                <a:gd name="connsiteY9" fmla="*/ 609600 h 2730500"/>
                <a:gd name="connsiteX10" fmla="*/ 266700 w 1447800"/>
                <a:gd name="connsiteY10" fmla="*/ 0 h 2730500"/>
                <a:gd name="connsiteX0" fmla="*/ 307521 w 1447800"/>
                <a:gd name="connsiteY0" fmla="*/ 0 h 2722336"/>
                <a:gd name="connsiteX1" fmla="*/ 317500 w 1447800"/>
                <a:gd name="connsiteY1" fmla="*/ 690336 h 2722336"/>
                <a:gd name="connsiteX2" fmla="*/ 0 w 1447800"/>
                <a:gd name="connsiteY2" fmla="*/ 741136 h 2722336"/>
                <a:gd name="connsiteX3" fmla="*/ 508000 w 1447800"/>
                <a:gd name="connsiteY3" fmla="*/ 1884136 h 2722336"/>
                <a:gd name="connsiteX4" fmla="*/ 1295400 w 1447800"/>
                <a:gd name="connsiteY4" fmla="*/ 2455636 h 2722336"/>
                <a:gd name="connsiteX5" fmla="*/ 1447800 w 1447800"/>
                <a:gd name="connsiteY5" fmla="*/ 2722336 h 2722336"/>
                <a:gd name="connsiteX6" fmla="*/ 1384300 w 1447800"/>
                <a:gd name="connsiteY6" fmla="*/ 2214336 h 2722336"/>
                <a:gd name="connsiteX7" fmla="*/ 1066800 w 1447800"/>
                <a:gd name="connsiteY7" fmla="*/ 1795236 h 2722336"/>
                <a:gd name="connsiteX8" fmla="*/ 1295400 w 1447800"/>
                <a:gd name="connsiteY8" fmla="*/ 1465036 h 2722336"/>
                <a:gd name="connsiteX9" fmla="*/ 1206500 w 1447800"/>
                <a:gd name="connsiteY9" fmla="*/ 601436 h 2722336"/>
                <a:gd name="connsiteX10" fmla="*/ 307521 w 1447800"/>
                <a:gd name="connsiteY10" fmla="*/ 0 h 2722336"/>
                <a:gd name="connsiteX0" fmla="*/ 288954 w 1447800"/>
                <a:gd name="connsiteY0" fmla="*/ 0 h 2740902"/>
                <a:gd name="connsiteX1" fmla="*/ 317500 w 1447800"/>
                <a:gd name="connsiteY1" fmla="*/ 708902 h 2740902"/>
                <a:gd name="connsiteX2" fmla="*/ 0 w 1447800"/>
                <a:gd name="connsiteY2" fmla="*/ 759702 h 2740902"/>
                <a:gd name="connsiteX3" fmla="*/ 508000 w 1447800"/>
                <a:gd name="connsiteY3" fmla="*/ 1902702 h 2740902"/>
                <a:gd name="connsiteX4" fmla="*/ 1295400 w 1447800"/>
                <a:gd name="connsiteY4" fmla="*/ 2474202 h 2740902"/>
                <a:gd name="connsiteX5" fmla="*/ 1447800 w 1447800"/>
                <a:gd name="connsiteY5" fmla="*/ 2740902 h 2740902"/>
                <a:gd name="connsiteX6" fmla="*/ 1384300 w 1447800"/>
                <a:gd name="connsiteY6" fmla="*/ 2232902 h 2740902"/>
                <a:gd name="connsiteX7" fmla="*/ 1066800 w 1447800"/>
                <a:gd name="connsiteY7" fmla="*/ 1813802 h 2740902"/>
                <a:gd name="connsiteX8" fmla="*/ 1295400 w 1447800"/>
                <a:gd name="connsiteY8" fmla="*/ 1483602 h 2740902"/>
                <a:gd name="connsiteX9" fmla="*/ 1206500 w 1447800"/>
                <a:gd name="connsiteY9" fmla="*/ 620002 h 2740902"/>
                <a:gd name="connsiteX10" fmla="*/ 288954 w 1447800"/>
                <a:gd name="connsiteY10" fmla="*/ 0 h 2740902"/>
                <a:gd name="connsiteX0" fmla="*/ 288954 w 1438174"/>
                <a:gd name="connsiteY0" fmla="*/ 0 h 2692776"/>
                <a:gd name="connsiteX1" fmla="*/ 317500 w 1438174"/>
                <a:gd name="connsiteY1" fmla="*/ 708902 h 2692776"/>
                <a:gd name="connsiteX2" fmla="*/ 0 w 1438174"/>
                <a:gd name="connsiteY2" fmla="*/ 759702 h 2692776"/>
                <a:gd name="connsiteX3" fmla="*/ 508000 w 1438174"/>
                <a:gd name="connsiteY3" fmla="*/ 1902702 h 2692776"/>
                <a:gd name="connsiteX4" fmla="*/ 1295400 w 1438174"/>
                <a:gd name="connsiteY4" fmla="*/ 2474202 h 2692776"/>
                <a:gd name="connsiteX5" fmla="*/ 1438174 w 1438174"/>
                <a:gd name="connsiteY5" fmla="*/ 2692776 h 2692776"/>
                <a:gd name="connsiteX6" fmla="*/ 1384300 w 1438174"/>
                <a:gd name="connsiteY6" fmla="*/ 2232902 h 2692776"/>
                <a:gd name="connsiteX7" fmla="*/ 1066800 w 1438174"/>
                <a:gd name="connsiteY7" fmla="*/ 1813802 h 2692776"/>
                <a:gd name="connsiteX8" fmla="*/ 1295400 w 1438174"/>
                <a:gd name="connsiteY8" fmla="*/ 1483602 h 2692776"/>
                <a:gd name="connsiteX9" fmla="*/ 1206500 w 1438174"/>
                <a:gd name="connsiteY9" fmla="*/ 620002 h 2692776"/>
                <a:gd name="connsiteX10" fmla="*/ 288954 w 1438174"/>
                <a:gd name="connsiteY10" fmla="*/ 0 h 2692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38174" h="2692776">
                  <a:moveTo>
                    <a:pt x="288954" y="0"/>
                  </a:moveTo>
                  <a:lnTo>
                    <a:pt x="317500" y="708902"/>
                  </a:lnTo>
                  <a:lnTo>
                    <a:pt x="0" y="759702"/>
                  </a:lnTo>
                  <a:lnTo>
                    <a:pt x="508000" y="1902702"/>
                  </a:lnTo>
                  <a:lnTo>
                    <a:pt x="1295400" y="2474202"/>
                  </a:lnTo>
                  <a:lnTo>
                    <a:pt x="1438174" y="2692776"/>
                  </a:lnTo>
                  <a:lnTo>
                    <a:pt x="1384300" y="2232902"/>
                  </a:lnTo>
                  <a:lnTo>
                    <a:pt x="1066800" y="1813802"/>
                  </a:lnTo>
                  <a:lnTo>
                    <a:pt x="1295400" y="1483602"/>
                  </a:lnTo>
                  <a:lnTo>
                    <a:pt x="1206500" y="620002"/>
                  </a:lnTo>
                  <a:lnTo>
                    <a:pt x="288954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олилиния 18">
              <a:extLst>
                <a:ext uri="{FF2B5EF4-FFF2-40B4-BE49-F238E27FC236}">
                  <a16:creationId xmlns:a16="http://schemas.microsoft.com/office/drawing/2014/main" id="{2224E1A4-8603-F943-B388-2DE862A3E01D}"/>
                </a:ext>
              </a:extLst>
            </p:cNvPr>
            <p:cNvSpPr/>
            <p:nvPr/>
          </p:nvSpPr>
          <p:spPr>
            <a:xfrm>
              <a:off x="2743200" y="3521036"/>
              <a:ext cx="5432219" cy="3379829"/>
            </a:xfrm>
            <a:custGeom>
              <a:avLst/>
              <a:gdLst>
                <a:gd name="connsiteX0" fmla="*/ 0 w 6572250"/>
                <a:gd name="connsiteY0" fmla="*/ 4614863 h 4614863"/>
                <a:gd name="connsiteX1" fmla="*/ 1600200 w 6572250"/>
                <a:gd name="connsiteY1" fmla="*/ 3200400 h 4614863"/>
                <a:gd name="connsiteX2" fmla="*/ 2171700 w 6572250"/>
                <a:gd name="connsiteY2" fmla="*/ 3486150 h 4614863"/>
                <a:gd name="connsiteX3" fmla="*/ 3686175 w 6572250"/>
                <a:gd name="connsiteY3" fmla="*/ 1785938 h 4614863"/>
                <a:gd name="connsiteX4" fmla="*/ 4357688 w 6572250"/>
                <a:gd name="connsiteY4" fmla="*/ 2400300 h 4614863"/>
                <a:gd name="connsiteX5" fmla="*/ 6572250 w 6572250"/>
                <a:gd name="connsiteY5" fmla="*/ 0 h 4614863"/>
                <a:gd name="connsiteX0" fmla="*/ 0 w 5432219"/>
                <a:gd name="connsiteY0" fmla="*/ 3379829 h 3379829"/>
                <a:gd name="connsiteX1" fmla="*/ 1600200 w 5432219"/>
                <a:gd name="connsiteY1" fmla="*/ 1965366 h 3379829"/>
                <a:gd name="connsiteX2" fmla="*/ 2171700 w 5432219"/>
                <a:gd name="connsiteY2" fmla="*/ 2251116 h 3379829"/>
                <a:gd name="connsiteX3" fmla="*/ 3686175 w 5432219"/>
                <a:gd name="connsiteY3" fmla="*/ 550904 h 3379829"/>
                <a:gd name="connsiteX4" fmla="*/ 4357688 w 5432219"/>
                <a:gd name="connsiteY4" fmla="*/ 1165266 h 3379829"/>
                <a:gd name="connsiteX5" fmla="*/ 5432219 w 5432219"/>
                <a:gd name="connsiteY5" fmla="*/ 0 h 337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32219" h="3379829">
                  <a:moveTo>
                    <a:pt x="0" y="3379829"/>
                  </a:moveTo>
                  <a:lnTo>
                    <a:pt x="1600200" y="1965366"/>
                  </a:lnTo>
                  <a:lnTo>
                    <a:pt x="2171700" y="2251116"/>
                  </a:lnTo>
                  <a:lnTo>
                    <a:pt x="3686175" y="550904"/>
                  </a:lnTo>
                  <a:lnTo>
                    <a:pt x="4357688" y="1165266"/>
                  </a:lnTo>
                  <a:lnTo>
                    <a:pt x="5432219" y="0"/>
                  </a:lnTo>
                </a:path>
              </a:pathLst>
            </a:custGeom>
            <a:noFill/>
            <a:ln w="69850">
              <a:solidFill>
                <a:schemeClr val="bg2"/>
              </a:solidFill>
              <a:tailEnd type="arrow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3" name="Текст 2">
            <a:extLst>
              <a:ext uri="{FF2B5EF4-FFF2-40B4-BE49-F238E27FC236}">
                <a16:creationId xmlns:a16="http://schemas.microsoft.com/office/drawing/2014/main" id="{56E9E17D-8AC1-D849-BA48-B5BEDC5117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4AADF3D3-AFBC-6841-9B45-A7155C9C7F3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F01C1EB4-C198-0746-96DB-5A1EAFFC2DD1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21" name="Нижний колонтитул 3">
            <a:extLst>
              <a:ext uri="{FF2B5EF4-FFF2-40B4-BE49-F238E27FC236}">
                <a16:creationId xmlns:a16="http://schemas.microsoft.com/office/drawing/2014/main" id="{602DFBC8-D0A1-8A45-8E2E-A3F064694E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3855" y="6356349"/>
            <a:ext cx="338583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r>
              <a:rPr lang="ru-RU"/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13439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E898A1B-0441-FF49-BF91-E55F48CBB7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78701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E823468D-8EE1-1043-8933-8DFE1FA7BD1B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66808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01342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0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11F5C4-C9AA-4A48-8171-7867F8EF8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Текст 4">
            <a:extLst>
              <a:ext uri="{FF2B5EF4-FFF2-40B4-BE49-F238E27FC236}">
                <a16:creationId xmlns:a16="http://schemas.microsoft.com/office/drawing/2014/main" id="{708B971F-3431-8343-970C-119F9B8E97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3"/>
            <a:ext cx="5277485" cy="3719461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28000" b="1">
                <a:solidFill>
                  <a:schemeClr val="accent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Заголовок 16">
            <a:extLst>
              <a:ext uri="{FF2B5EF4-FFF2-40B4-BE49-F238E27FC236}">
                <a16:creationId xmlns:a16="http://schemas.microsoft.com/office/drawing/2014/main" id="{613E94BC-CCEB-784A-9FA5-B53A8B79B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4" y="4345936"/>
            <a:ext cx="7269418" cy="1263213"/>
          </a:xfrm>
        </p:spPr>
        <p:txBody>
          <a:bodyPr vert="horz" lIns="0" tIns="0" rIns="0" bIns="0" anchor="t">
            <a:normAutofit/>
          </a:bodyPr>
          <a:lstStyle>
            <a:lvl1pPr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71E0D75-1C9A-D94E-8A7E-42607AF206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3C7EEA3C-D68A-5A41-9D32-181E2305EDAA}"/>
              </a:ext>
            </a:extLst>
          </p:cNvPr>
          <p:cNvGrpSpPr/>
          <p:nvPr userDrawn="1"/>
        </p:nvGrpSpPr>
        <p:grpSpPr>
          <a:xfrm>
            <a:off x="227165" y="4390517"/>
            <a:ext cx="361110" cy="371578"/>
            <a:chOff x="383279" y="3833472"/>
            <a:chExt cx="361110" cy="371578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2FBFD15A-7232-634E-B5E0-140D0D8906EC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22DEB5DA-DC02-B243-96C3-83890778DED2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37883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2 заливки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D93B0A69-B7D5-5A48-ADC3-AB1A9D78FC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20472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B25FCF0-2689-E740-92E7-6F6AA6DD9764}"/>
              </a:ext>
            </a:extLst>
          </p:cNvPr>
          <p:cNvGrpSpPr/>
          <p:nvPr userDrawn="1"/>
        </p:nvGrpSpPr>
        <p:grpSpPr>
          <a:xfrm>
            <a:off x="5330559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7987E582-CD0D-4546-B723-8831CB5C99C4}"/>
              </a:ext>
            </a:extLst>
          </p:cNvPr>
          <p:cNvSpPr/>
          <p:nvPr userDrawn="1"/>
        </p:nvSpPr>
        <p:spPr>
          <a:xfrm>
            <a:off x="5546360" y="0"/>
            <a:ext cx="6645640" cy="6858000"/>
          </a:xfrm>
          <a:custGeom>
            <a:avLst/>
            <a:gdLst>
              <a:gd name="connsiteX0" fmla="*/ 0 w 6645640"/>
              <a:gd name="connsiteY0" fmla="*/ 0 h 6858000"/>
              <a:gd name="connsiteX1" fmla="*/ 1315082 w 6645640"/>
              <a:gd name="connsiteY1" fmla="*/ 0 h 6858000"/>
              <a:gd name="connsiteX2" fmla="*/ 5292944 w 6645640"/>
              <a:gd name="connsiteY2" fmla="*/ 0 h 6858000"/>
              <a:gd name="connsiteX3" fmla="*/ 6645640 w 6645640"/>
              <a:gd name="connsiteY3" fmla="*/ 0 h 6858000"/>
              <a:gd name="connsiteX4" fmla="*/ 6645640 w 6645640"/>
              <a:gd name="connsiteY4" fmla="*/ 6858000 h 6858000"/>
              <a:gd name="connsiteX5" fmla="*/ 6600669 w 6645640"/>
              <a:gd name="connsiteY5" fmla="*/ 6858000 h 6858000"/>
              <a:gd name="connsiteX6" fmla="*/ 1315082 w 6645640"/>
              <a:gd name="connsiteY6" fmla="*/ 6858000 h 6858000"/>
              <a:gd name="connsiteX7" fmla="*/ 1307725 w 66456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45640" h="6858000">
                <a:moveTo>
                  <a:pt x="0" y="0"/>
                </a:moveTo>
                <a:lnTo>
                  <a:pt x="1315082" y="0"/>
                </a:lnTo>
                <a:lnTo>
                  <a:pt x="5292944" y="0"/>
                </a:lnTo>
                <a:lnTo>
                  <a:pt x="6645640" y="0"/>
                </a:lnTo>
                <a:lnTo>
                  <a:pt x="6645640" y="6858000"/>
                </a:lnTo>
                <a:lnTo>
                  <a:pt x="6600669" y="6858000"/>
                </a:lnTo>
                <a:lnTo>
                  <a:pt x="1315082" y="6858000"/>
                </a:lnTo>
                <a:lnTo>
                  <a:pt x="1307725" y="685800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98779D95-B861-1543-B81B-A8E80358A34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6" name="Заголовок 16">
            <a:extLst>
              <a:ext uri="{FF2B5EF4-FFF2-40B4-BE49-F238E27FC236}">
                <a16:creationId xmlns:a16="http://schemas.microsoft.com/office/drawing/2014/main" id="{AB1AEA3B-AC4B-E140-9340-6B454EBD06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7" y="402822"/>
            <a:ext cx="441497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25578347-EE4A-9C43-90AD-D7FA8D7FED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5279473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78040010-421A-6B44-97A4-119E862C416B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6B3FAD98-8606-774A-A4A8-3920B0033A14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2EFB1FC0-4632-CE42-883F-35F2AF32BA5A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9791814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3 залив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B10BD2F5-DFF1-F341-88B5-9F4DB6B58E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72582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олилиния 15">
            <a:extLst>
              <a:ext uri="{FF2B5EF4-FFF2-40B4-BE49-F238E27FC236}">
                <a16:creationId xmlns:a16="http://schemas.microsoft.com/office/drawing/2014/main" id="{12528276-D9FD-794D-8243-88ED659A47E0}"/>
              </a:ext>
            </a:extLst>
          </p:cNvPr>
          <p:cNvSpPr/>
          <p:nvPr userDrawn="1"/>
        </p:nvSpPr>
        <p:spPr>
          <a:xfrm>
            <a:off x="7291725" y="0"/>
            <a:ext cx="4900275" cy="6858000"/>
          </a:xfrm>
          <a:custGeom>
            <a:avLst/>
            <a:gdLst>
              <a:gd name="connsiteX0" fmla="*/ 0 w 4900275"/>
              <a:gd name="connsiteY0" fmla="*/ 0 h 6858000"/>
              <a:gd name="connsiteX1" fmla="*/ 1315082 w 4900275"/>
              <a:gd name="connsiteY1" fmla="*/ 0 h 6858000"/>
              <a:gd name="connsiteX2" fmla="*/ 4900275 w 4900275"/>
              <a:gd name="connsiteY2" fmla="*/ 0 h 6858000"/>
              <a:gd name="connsiteX3" fmla="*/ 4900275 w 4900275"/>
              <a:gd name="connsiteY3" fmla="*/ 6858000 h 6858000"/>
              <a:gd name="connsiteX4" fmla="*/ 1315082 w 4900275"/>
              <a:gd name="connsiteY4" fmla="*/ 6858000 h 6858000"/>
              <a:gd name="connsiteX5" fmla="*/ 1307725 w 4900275"/>
              <a:gd name="connsiteY5" fmla="*/ 6858000 h 6858000"/>
              <a:gd name="connsiteX6" fmla="*/ 0 w 490027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00275" h="6858000">
                <a:moveTo>
                  <a:pt x="0" y="0"/>
                </a:moveTo>
                <a:lnTo>
                  <a:pt x="1315082" y="0"/>
                </a:lnTo>
                <a:lnTo>
                  <a:pt x="4900275" y="0"/>
                </a:lnTo>
                <a:lnTo>
                  <a:pt x="4900275" y="6858000"/>
                </a:lnTo>
                <a:lnTo>
                  <a:pt x="1315082" y="6858000"/>
                </a:lnTo>
                <a:lnTo>
                  <a:pt x="1307725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B25FCF0-2689-E740-92E7-6F6AA6DD9764}"/>
              </a:ext>
            </a:extLst>
          </p:cNvPr>
          <p:cNvGrpSpPr/>
          <p:nvPr userDrawn="1"/>
        </p:nvGrpSpPr>
        <p:grpSpPr>
          <a:xfrm>
            <a:off x="7069412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22F8ADA-2B0C-1C4C-9161-28646326D5B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4" name="Заголовок 16">
            <a:extLst>
              <a:ext uri="{FF2B5EF4-FFF2-40B4-BE49-F238E27FC236}">
                <a16:creationId xmlns:a16="http://schemas.microsoft.com/office/drawing/2014/main" id="{0D0FF622-0622-C34A-80BB-EF8A7970B4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6153825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5BBE7582-2D3B-AE4F-B4B8-924A7A1851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BDE6E614-9769-B047-B502-A37F9A43E332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B3F9E8E8-0001-B143-8B76-58D480FDF88A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78050CC4-9818-2B4B-9B29-EB72E82CD3D9}"/>
              </a:ext>
            </a:extLst>
          </p:cNvPr>
          <p:cNvSpPr/>
          <p:nvPr userDrawn="1"/>
        </p:nvSpPr>
        <p:spPr>
          <a:xfrm>
            <a:off x="8674440" y="6403462"/>
            <a:ext cx="236203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0536751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3 заливки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2FEFCD2D-F76E-834A-A99F-E36DD0B636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19995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олилиния 15">
            <a:extLst>
              <a:ext uri="{FF2B5EF4-FFF2-40B4-BE49-F238E27FC236}">
                <a16:creationId xmlns:a16="http://schemas.microsoft.com/office/drawing/2014/main" id="{12528276-D9FD-794D-8243-88ED659A47E0}"/>
              </a:ext>
            </a:extLst>
          </p:cNvPr>
          <p:cNvSpPr/>
          <p:nvPr userDrawn="1"/>
        </p:nvSpPr>
        <p:spPr>
          <a:xfrm>
            <a:off x="7291725" y="0"/>
            <a:ext cx="4900275" cy="6858000"/>
          </a:xfrm>
          <a:custGeom>
            <a:avLst/>
            <a:gdLst>
              <a:gd name="connsiteX0" fmla="*/ 0 w 4900275"/>
              <a:gd name="connsiteY0" fmla="*/ 0 h 6858000"/>
              <a:gd name="connsiteX1" fmla="*/ 1315082 w 4900275"/>
              <a:gd name="connsiteY1" fmla="*/ 0 h 6858000"/>
              <a:gd name="connsiteX2" fmla="*/ 4900275 w 4900275"/>
              <a:gd name="connsiteY2" fmla="*/ 0 h 6858000"/>
              <a:gd name="connsiteX3" fmla="*/ 4900275 w 4900275"/>
              <a:gd name="connsiteY3" fmla="*/ 6858000 h 6858000"/>
              <a:gd name="connsiteX4" fmla="*/ 1315082 w 4900275"/>
              <a:gd name="connsiteY4" fmla="*/ 6858000 h 6858000"/>
              <a:gd name="connsiteX5" fmla="*/ 1307725 w 4900275"/>
              <a:gd name="connsiteY5" fmla="*/ 6858000 h 6858000"/>
              <a:gd name="connsiteX6" fmla="*/ 0 w 490027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00275" h="6858000">
                <a:moveTo>
                  <a:pt x="0" y="0"/>
                </a:moveTo>
                <a:lnTo>
                  <a:pt x="1315082" y="0"/>
                </a:lnTo>
                <a:lnTo>
                  <a:pt x="4900275" y="0"/>
                </a:lnTo>
                <a:lnTo>
                  <a:pt x="4900275" y="6858000"/>
                </a:lnTo>
                <a:lnTo>
                  <a:pt x="1315082" y="6858000"/>
                </a:lnTo>
                <a:lnTo>
                  <a:pt x="1307725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B25FCF0-2689-E740-92E7-6F6AA6DD9764}"/>
              </a:ext>
            </a:extLst>
          </p:cNvPr>
          <p:cNvGrpSpPr/>
          <p:nvPr userDrawn="1"/>
        </p:nvGrpSpPr>
        <p:grpSpPr>
          <a:xfrm>
            <a:off x="7069412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7C9A01AC-E969-0844-9499-42C4193DE99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5" name="Заголовок 16">
            <a:extLst>
              <a:ext uri="{FF2B5EF4-FFF2-40B4-BE49-F238E27FC236}">
                <a16:creationId xmlns:a16="http://schemas.microsoft.com/office/drawing/2014/main" id="{4035D7B3-4854-5943-9D99-7DC8694E7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6153825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7" name="Текст 2">
            <a:extLst>
              <a:ext uri="{FF2B5EF4-FFF2-40B4-BE49-F238E27FC236}">
                <a16:creationId xmlns:a16="http://schemas.microsoft.com/office/drawing/2014/main" id="{833A1594-EA2F-AF4C-A860-A78F7DBA415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67E09A19-A0FF-3D48-BCF1-47225CD7CB26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6E705500-A378-A74D-8862-0093F410771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DE358150-9FBD-C74B-8887-FFB860C2E3BC}"/>
              </a:ext>
            </a:extLst>
          </p:cNvPr>
          <p:cNvSpPr/>
          <p:nvPr userDrawn="1"/>
        </p:nvSpPr>
        <p:spPr>
          <a:xfrm>
            <a:off x="8674440" y="6403462"/>
            <a:ext cx="236203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38321031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2/3 залив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D53ADF0-C1DC-8E47-A4C4-7F636F65A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31784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38DBFD21-2ABB-7742-A243-91032BE024AF}"/>
              </a:ext>
            </a:extLst>
          </p:cNvPr>
          <p:cNvSpPr/>
          <p:nvPr userDrawn="1"/>
        </p:nvSpPr>
        <p:spPr>
          <a:xfrm rot="5400000">
            <a:off x="4208248" y="-1101253"/>
            <a:ext cx="6882498" cy="9085006"/>
          </a:xfrm>
          <a:custGeom>
            <a:avLst/>
            <a:gdLst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75352 w 6858000"/>
              <a:gd name="connsiteY4" fmla="*/ 794446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14392 w 6858000"/>
              <a:gd name="connsiteY4" fmla="*/ 791398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28906 w 6858000"/>
              <a:gd name="connsiteY4" fmla="*/ 8138955 h 9085006"/>
              <a:gd name="connsiteX5" fmla="*/ 0 w 6858000"/>
              <a:gd name="connsiteY5" fmla="*/ 9085006 h 9085006"/>
              <a:gd name="connsiteX0" fmla="*/ 0 w 6882493"/>
              <a:gd name="connsiteY0" fmla="*/ 9085006 h 9085006"/>
              <a:gd name="connsiteX1" fmla="*/ 0 w 6882493"/>
              <a:gd name="connsiteY1" fmla="*/ 0 h 9085006"/>
              <a:gd name="connsiteX2" fmla="*/ 6858000 w 6882493"/>
              <a:gd name="connsiteY2" fmla="*/ 0 h 9085006"/>
              <a:gd name="connsiteX3" fmla="*/ 6882493 w 6882493"/>
              <a:gd name="connsiteY3" fmla="*/ 9070911 h 9085006"/>
              <a:gd name="connsiteX4" fmla="*/ 3428906 w 6882493"/>
              <a:gd name="connsiteY4" fmla="*/ 8138955 h 9085006"/>
              <a:gd name="connsiteX5" fmla="*/ 0 w 6882493"/>
              <a:gd name="connsiteY5" fmla="*/ 9085006 h 9085006"/>
              <a:gd name="connsiteX0" fmla="*/ 0 w 6874331"/>
              <a:gd name="connsiteY0" fmla="*/ 9085006 h 9085006"/>
              <a:gd name="connsiteX1" fmla="*/ 0 w 6874331"/>
              <a:gd name="connsiteY1" fmla="*/ 0 h 9085006"/>
              <a:gd name="connsiteX2" fmla="*/ 6858000 w 6874331"/>
              <a:gd name="connsiteY2" fmla="*/ 0 h 9085006"/>
              <a:gd name="connsiteX3" fmla="*/ 6874331 w 6874331"/>
              <a:gd name="connsiteY3" fmla="*/ 9062747 h 9085006"/>
              <a:gd name="connsiteX4" fmla="*/ 3428906 w 6874331"/>
              <a:gd name="connsiteY4" fmla="*/ 8138955 h 9085006"/>
              <a:gd name="connsiteX5" fmla="*/ 0 w 6874331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38955 h 9085006"/>
              <a:gd name="connsiteX5" fmla="*/ 0 w 6882498"/>
              <a:gd name="connsiteY5" fmla="*/ 9085006 h 9085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82498" h="9085006">
                <a:moveTo>
                  <a:pt x="0" y="9085006"/>
                </a:moveTo>
                <a:lnTo>
                  <a:pt x="0" y="0"/>
                </a:lnTo>
                <a:lnTo>
                  <a:pt x="6858000" y="0"/>
                </a:lnTo>
                <a:cubicBezTo>
                  <a:pt x="6866164" y="3023637"/>
                  <a:pt x="6874334" y="6055439"/>
                  <a:pt x="6882498" y="9079076"/>
                </a:cubicBezTo>
                <a:lnTo>
                  <a:pt x="3428906" y="8138955"/>
                </a:lnTo>
                <a:lnTo>
                  <a:pt x="0" y="9085006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324F3D68-6BA1-3C4E-B14B-2DD63721CC9D}"/>
              </a:ext>
            </a:extLst>
          </p:cNvPr>
          <p:cNvGrpSpPr/>
          <p:nvPr userDrawn="1"/>
        </p:nvGrpSpPr>
        <p:grpSpPr>
          <a:xfrm>
            <a:off x="2924849" y="0"/>
            <a:ext cx="1127505" cy="6876000"/>
            <a:chOff x="3945699" y="0"/>
            <a:chExt cx="1127505" cy="6876000"/>
          </a:xfrm>
        </p:grpSpPr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id="{808772EC-E4D1-1547-ADF5-594B1C5CB222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C29642E3-0970-7C4E-B9EE-C3273F54635C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14FCD43-419A-B847-B117-C99536C7969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4E21FC6F-C1D8-BF4D-97D3-976B84D8ED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2018961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85172B85-A0CD-B24A-BCAB-B123A1C8D0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2026007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2AA9D97E-1EC3-F048-9CFD-F35F05BBC11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C7E800E7-478C-864A-B25F-4096900EE66F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879BC661-EAD1-CC4D-A34C-194D61B0BA83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23020400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2/3 градиент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61F4C62-7735-054B-B3F9-972F97076C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64407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Полилиния 24">
            <a:extLst>
              <a:ext uri="{FF2B5EF4-FFF2-40B4-BE49-F238E27FC236}">
                <a16:creationId xmlns:a16="http://schemas.microsoft.com/office/drawing/2014/main" id="{0CB11AFE-9411-2044-8A46-6AC5FEF2BEAC}"/>
              </a:ext>
            </a:extLst>
          </p:cNvPr>
          <p:cNvSpPr/>
          <p:nvPr userDrawn="1"/>
        </p:nvSpPr>
        <p:spPr>
          <a:xfrm rot="5400000">
            <a:off x="4208248" y="-1101253"/>
            <a:ext cx="6882498" cy="9085006"/>
          </a:xfrm>
          <a:custGeom>
            <a:avLst/>
            <a:gdLst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75352 w 6858000"/>
              <a:gd name="connsiteY4" fmla="*/ 794446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14392 w 6858000"/>
              <a:gd name="connsiteY4" fmla="*/ 791398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28906 w 6858000"/>
              <a:gd name="connsiteY4" fmla="*/ 8138955 h 9085006"/>
              <a:gd name="connsiteX5" fmla="*/ 0 w 6858000"/>
              <a:gd name="connsiteY5" fmla="*/ 9085006 h 9085006"/>
              <a:gd name="connsiteX0" fmla="*/ 0 w 6882493"/>
              <a:gd name="connsiteY0" fmla="*/ 9085006 h 9085006"/>
              <a:gd name="connsiteX1" fmla="*/ 0 w 6882493"/>
              <a:gd name="connsiteY1" fmla="*/ 0 h 9085006"/>
              <a:gd name="connsiteX2" fmla="*/ 6858000 w 6882493"/>
              <a:gd name="connsiteY2" fmla="*/ 0 h 9085006"/>
              <a:gd name="connsiteX3" fmla="*/ 6882493 w 6882493"/>
              <a:gd name="connsiteY3" fmla="*/ 9070911 h 9085006"/>
              <a:gd name="connsiteX4" fmla="*/ 3428906 w 6882493"/>
              <a:gd name="connsiteY4" fmla="*/ 8138955 h 9085006"/>
              <a:gd name="connsiteX5" fmla="*/ 0 w 6882493"/>
              <a:gd name="connsiteY5" fmla="*/ 9085006 h 9085006"/>
              <a:gd name="connsiteX0" fmla="*/ 0 w 6874331"/>
              <a:gd name="connsiteY0" fmla="*/ 9085006 h 9085006"/>
              <a:gd name="connsiteX1" fmla="*/ 0 w 6874331"/>
              <a:gd name="connsiteY1" fmla="*/ 0 h 9085006"/>
              <a:gd name="connsiteX2" fmla="*/ 6858000 w 6874331"/>
              <a:gd name="connsiteY2" fmla="*/ 0 h 9085006"/>
              <a:gd name="connsiteX3" fmla="*/ 6874331 w 6874331"/>
              <a:gd name="connsiteY3" fmla="*/ 9062747 h 9085006"/>
              <a:gd name="connsiteX4" fmla="*/ 3428906 w 6874331"/>
              <a:gd name="connsiteY4" fmla="*/ 8138955 h 9085006"/>
              <a:gd name="connsiteX5" fmla="*/ 0 w 6874331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38955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38955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55283 w 6882498"/>
              <a:gd name="connsiteY4" fmla="*/ 8130163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55283 w 6882498"/>
              <a:gd name="connsiteY4" fmla="*/ 8138955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56540 h 9085006"/>
              <a:gd name="connsiteX5" fmla="*/ 0 w 6882498"/>
              <a:gd name="connsiteY5" fmla="*/ 9085006 h 9085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82498" h="9085006">
                <a:moveTo>
                  <a:pt x="0" y="9085006"/>
                </a:moveTo>
                <a:lnTo>
                  <a:pt x="0" y="0"/>
                </a:lnTo>
                <a:lnTo>
                  <a:pt x="6858000" y="0"/>
                </a:lnTo>
                <a:cubicBezTo>
                  <a:pt x="6866164" y="3023637"/>
                  <a:pt x="6874334" y="6055439"/>
                  <a:pt x="6882498" y="9079076"/>
                </a:cubicBezTo>
                <a:lnTo>
                  <a:pt x="3428906" y="8156540"/>
                </a:lnTo>
                <a:lnTo>
                  <a:pt x="0" y="9085006"/>
                </a:lnTo>
                <a:close/>
              </a:path>
            </a:pathLst>
          </a:custGeom>
          <a:gradFill flip="none" rotWithShape="1">
            <a:gsLst>
              <a:gs pos="100000">
                <a:schemeClr val="accent1"/>
              </a:gs>
              <a:gs pos="0">
                <a:schemeClr val="accent3"/>
              </a:gs>
            </a:gsLst>
            <a:lin ang="189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787A8BF8-8B64-7345-B8D8-D2B005A404F1}"/>
              </a:ext>
            </a:extLst>
          </p:cNvPr>
          <p:cNvGrpSpPr/>
          <p:nvPr userDrawn="1"/>
        </p:nvGrpSpPr>
        <p:grpSpPr>
          <a:xfrm>
            <a:off x="2924849" y="0"/>
            <a:ext cx="1127505" cy="6876000"/>
            <a:chOff x="3945699" y="0"/>
            <a:chExt cx="1127505" cy="6876000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503AA737-7731-5D4B-93E9-8170425CDD10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12E1EB47-C8D5-324D-A43E-748FF75CD008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97164FA-3D79-8B47-AE07-4FA8C5D58C3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4" name="Заголовок 16">
            <a:extLst>
              <a:ext uri="{FF2B5EF4-FFF2-40B4-BE49-F238E27FC236}">
                <a16:creationId xmlns:a16="http://schemas.microsoft.com/office/drawing/2014/main" id="{9BB290FA-0BE0-FF40-A96B-5BE20DC037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2018961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8802F073-65C6-D84E-933F-CC5D06A78CD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2026007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4F4F6C43-8A86-D747-AC1B-5F7BD5E807F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EFCF5145-1BA6-D741-8DAD-6CF2FFCBCFE9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E817CBE-2F70-0546-BC57-D869DBF7B28C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20698807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261D4D59-CE6F-8946-8CEC-CFA017835E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3958887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Слайд think-cell" r:id="rId48" imgW="7772400" imgH="10058400" progId="TCLayout.ActiveDocument.1">
                  <p:embed/>
                </p:oleObj>
              </mc:Choice>
              <mc:Fallback>
                <p:oleObj name="Слайд think-cell" r:id="rId48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231664-1E76-6F48-B95F-1623FC4BAD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37504A0-B12C-F547-9F37-CD4801EB73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7A8C393-4B6E-B244-A9AE-C2BE3E519C6D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382E046-203B-AE4C-B16E-8F7BEB498396}"/>
              </a:ext>
            </a:extLst>
          </p:cNvPr>
          <p:cNvCxnSpPr>
            <a:cxnSpLocks/>
          </p:cNvCxnSpPr>
          <p:nvPr userDrawn="1"/>
        </p:nvCxnSpPr>
        <p:spPr>
          <a:xfrm>
            <a:off x="11104840" y="6460250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9900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48" r:id="rId2"/>
    <p:sldLayoutId id="2147483731" r:id="rId3"/>
    <p:sldLayoutId id="2147483710" r:id="rId4"/>
    <p:sldLayoutId id="2147483732" r:id="rId5"/>
    <p:sldLayoutId id="2147483711" r:id="rId6"/>
    <p:sldLayoutId id="2147483733" r:id="rId7"/>
    <p:sldLayoutId id="2147483712" r:id="rId8"/>
    <p:sldLayoutId id="2147483734" r:id="rId9"/>
    <p:sldLayoutId id="2147483713" r:id="rId10"/>
    <p:sldLayoutId id="2147483735" r:id="rId11"/>
    <p:sldLayoutId id="2147483714" r:id="rId12"/>
    <p:sldLayoutId id="2147483736" r:id="rId13"/>
    <p:sldLayoutId id="2147483649" r:id="rId14"/>
    <p:sldLayoutId id="2147483715" r:id="rId15"/>
    <p:sldLayoutId id="2147483716" r:id="rId16"/>
    <p:sldLayoutId id="2147483717" r:id="rId17"/>
    <p:sldLayoutId id="2147483768" r:id="rId18"/>
    <p:sldLayoutId id="2147483719" r:id="rId19"/>
    <p:sldLayoutId id="2147483769" r:id="rId20"/>
    <p:sldLayoutId id="2147483722" r:id="rId21"/>
    <p:sldLayoutId id="2147483723" r:id="rId22"/>
    <p:sldLayoutId id="2147483724" r:id="rId23"/>
    <p:sldLayoutId id="2147483725" r:id="rId24"/>
    <p:sldLayoutId id="2147483767" r:id="rId25"/>
    <p:sldLayoutId id="2147483727" r:id="rId26"/>
    <p:sldLayoutId id="2147483770" r:id="rId27"/>
    <p:sldLayoutId id="2147483759" r:id="rId28"/>
    <p:sldLayoutId id="2147483728" r:id="rId29"/>
    <p:sldLayoutId id="2147483729" r:id="rId30"/>
    <p:sldLayoutId id="2147483730" r:id="rId31"/>
    <p:sldLayoutId id="2147483738" r:id="rId32"/>
    <p:sldLayoutId id="2147483739" r:id="rId33"/>
    <p:sldLayoutId id="2147483740" r:id="rId34"/>
    <p:sldLayoutId id="2147483741" r:id="rId35"/>
    <p:sldLayoutId id="2147483742" r:id="rId36"/>
    <p:sldLayoutId id="2147483743" r:id="rId37"/>
    <p:sldLayoutId id="2147483757" r:id="rId38"/>
    <p:sldLayoutId id="2147483744" r:id="rId39"/>
    <p:sldLayoutId id="2147483764" r:id="rId40"/>
    <p:sldLayoutId id="2147483765" r:id="rId41"/>
    <p:sldLayoutId id="2147483760" r:id="rId42"/>
    <p:sldLayoutId id="2147483761" r:id="rId43"/>
    <p:sldLayoutId id="2147483766" r:id="rId4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6" userDrawn="1">
          <p15:clr>
            <a:srgbClr val="F26B43"/>
          </p15:clr>
        </p15:guide>
        <p15:guide id="2" pos="7174" userDrawn="1">
          <p15:clr>
            <a:srgbClr val="F26B43"/>
          </p15:clr>
        </p15:guide>
        <p15:guide id="3" orient="horz" pos="686" userDrawn="1">
          <p15:clr>
            <a:srgbClr val="F26B43"/>
          </p15:clr>
        </p15:guide>
        <p15:guide id="4" orient="horz" pos="3906" userDrawn="1">
          <p15:clr>
            <a:srgbClr val="F26B43"/>
          </p15:clr>
        </p15:guide>
        <p15:guide id="6" orient="horz" pos="84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44.emf"/><Relationship Id="rId4" Type="http://schemas.openxmlformats.org/officeDocument/2006/relationships/oleObject" Target="../embeddings/oleObject4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12" Type="http://schemas.openxmlformats.org/officeDocument/2006/relationships/image" Target="../media/image47.png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46.png"/><Relationship Id="rId11" Type="http://schemas.openxmlformats.org/officeDocument/2006/relationships/image" Target="../media/image159.svg"/><Relationship Id="rId5" Type="http://schemas.openxmlformats.org/officeDocument/2006/relationships/image" Target="../media/image45.emf"/><Relationship Id="rId15" Type="http://schemas.openxmlformats.org/officeDocument/2006/relationships/image" Target="../media/image158.svg"/><Relationship Id="rId4" Type="http://schemas.openxmlformats.org/officeDocument/2006/relationships/oleObject" Target="../embeddings/oleObject4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8.emf"/><Relationship Id="rId4" Type="http://schemas.openxmlformats.org/officeDocument/2006/relationships/oleObject" Target="../embeddings/oleObject4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9.emf"/><Relationship Id="rId4" Type="http://schemas.openxmlformats.org/officeDocument/2006/relationships/oleObject" Target="../embeddings/oleObject4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50.emf"/><Relationship Id="rId4" Type="http://schemas.openxmlformats.org/officeDocument/2006/relationships/oleObject" Target="../embeddings/oleObject48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90.sv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53.png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52.jpg"/><Relationship Id="rId5" Type="http://schemas.openxmlformats.org/officeDocument/2006/relationships/image" Target="../media/image51.emf"/><Relationship Id="rId10" Type="http://schemas.openxmlformats.org/officeDocument/2006/relationships/image" Target="../media/image174.svg"/><Relationship Id="rId4" Type="http://schemas.openxmlformats.org/officeDocument/2006/relationships/oleObject" Target="../embeddings/oleObject49.bin"/><Relationship Id="rId9" Type="http://schemas.openxmlformats.org/officeDocument/2006/relationships/image" Target="../media/image5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35" r="7735"/>
          <a:stretch>
            <a:fillRect/>
          </a:stretch>
        </p:blipFill>
        <p:spPr/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18515" y="2417800"/>
            <a:ext cx="4031482" cy="1107996"/>
          </a:xfrm>
        </p:spPr>
        <p:txBody>
          <a:bodyPr/>
          <a:lstStyle/>
          <a:p>
            <a:r>
              <a:rPr lang="ru-RU" dirty="0" smtClean="0"/>
              <a:t>«Инженерная школа </a:t>
            </a:r>
            <a:r>
              <a:rPr lang="ru-RU" dirty="0"/>
              <a:t>УГМК»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1"/>
          </p:nvPr>
        </p:nvSpPr>
        <p:spPr>
          <a:xfrm>
            <a:off x="818515" y="4680061"/>
            <a:ext cx="3913727" cy="1004378"/>
          </a:xfrm>
        </p:spPr>
        <p:txBody>
          <a:bodyPr/>
          <a:lstStyle/>
          <a:p>
            <a:endParaRPr lang="ru-RU" dirty="0" smtClean="0"/>
          </a:p>
          <a:p>
            <a:r>
              <a:rPr lang="ru-RU" dirty="0"/>
              <a:t>С</a:t>
            </a:r>
            <a:r>
              <a:rPr lang="ru-RU" dirty="0" smtClean="0"/>
              <a:t>тратегия </a:t>
            </a:r>
            <a:r>
              <a:rPr lang="ru-RU" dirty="0"/>
              <a:t>УГМК</a:t>
            </a:r>
          </a:p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 smtClean="0"/>
              <a:t>202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9916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7FAE44CC-7194-9A41-A684-075652E52F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7FAE44CC-7194-9A41-A684-075652E52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AAC3B3C-6054-BF4C-9491-6282C643BD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332399"/>
          </a:xfrm>
          <a:noFill/>
        </p:spPr>
        <p:txBody>
          <a:bodyPr vert="horz"/>
          <a:lstStyle/>
          <a:p>
            <a:r>
              <a:rPr lang="ru-RU" dirty="0" smtClean="0"/>
              <a:t>О </a:t>
            </a:r>
            <a:r>
              <a:rPr lang="ru-RU" dirty="0" smtClean="0"/>
              <a:t>проекте</a:t>
            </a:r>
            <a:endParaRPr lang="ru-RU" dirty="0"/>
          </a:p>
        </p:txBody>
      </p:sp>
      <p:sp>
        <p:nvSpPr>
          <p:cNvPr id="21" name="Текст 20">
            <a:extLst>
              <a:ext uri="{FF2B5EF4-FFF2-40B4-BE49-F238E27FC236}">
                <a16:creationId xmlns:a16="http://schemas.microsoft.com/office/drawing/2014/main" id="{C6A4AD73-16A1-F041-9595-225B517A5B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9771" y="6850214"/>
            <a:ext cx="6575811" cy="360000"/>
          </a:xfrm>
        </p:spPr>
        <p:txBody>
          <a:bodyPr/>
          <a:lstStyle/>
          <a:p>
            <a:endParaRPr lang="ru-RU"/>
          </a:p>
        </p:txBody>
      </p:sp>
      <p:sp>
        <p:nvSpPr>
          <p:cNvPr id="6" name="AutoShape 250">
            <a:extLst>
              <a:ext uri="{FF2B5EF4-FFF2-40B4-BE49-F238E27FC236}">
                <a16:creationId xmlns:a16="http://schemas.microsoft.com/office/drawing/2014/main" id="{4E6F333A-DD06-6240-A50D-16BBE0C4934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72551" y="647731"/>
            <a:ext cx="2693290" cy="1846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Направление трансформации</a:t>
            </a:r>
          </a:p>
        </p:txBody>
      </p:sp>
      <p:sp>
        <p:nvSpPr>
          <p:cNvPr id="16" name="AutoShape 250">
            <a:extLst>
              <a:ext uri="{FF2B5EF4-FFF2-40B4-BE49-F238E27FC236}">
                <a16:creationId xmlns:a16="http://schemas.microsoft.com/office/drawing/2014/main" id="{18DCE364-556C-1541-809F-10D4A4C7AA55}"/>
              </a:ext>
            </a:extLst>
          </p:cNvPr>
          <p:cNvSpPr>
            <a:spLocks noChangeArrowheads="1"/>
          </p:cNvSpPr>
          <p:nvPr/>
        </p:nvSpPr>
        <p:spPr bwMode="gray">
          <a:xfrm>
            <a:off x="3761409" y="647731"/>
            <a:ext cx="7759052" cy="1846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писание требуемых изменений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899CCD83-3470-1243-BCAA-7BEBEE1B0D86}"/>
              </a:ext>
            </a:extLst>
          </p:cNvPr>
          <p:cNvGrpSpPr/>
          <p:nvPr/>
        </p:nvGrpSpPr>
        <p:grpSpPr>
          <a:xfrm>
            <a:off x="0" y="5663302"/>
            <a:ext cx="11383279" cy="776332"/>
            <a:chOff x="0" y="4830847"/>
            <a:chExt cx="11383279" cy="1368000"/>
          </a:xfrm>
        </p:grpSpPr>
        <p:sp>
          <p:nvSpPr>
            <p:cNvPr id="29" name="Текст 5">
              <a:extLst>
                <a:ext uri="{FF2B5EF4-FFF2-40B4-BE49-F238E27FC236}">
                  <a16:creationId xmlns:a16="http://schemas.microsoft.com/office/drawing/2014/main" id="{90BECE32-ED80-894E-BF39-AD696FEEF453}"/>
                </a:ext>
              </a:extLst>
            </p:cNvPr>
            <p:cNvSpPr txBox="1">
              <a:spLocks/>
            </p:cNvSpPr>
            <p:nvPr/>
          </p:nvSpPr>
          <p:spPr>
            <a:xfrm>
              <a:off x="337202" y="5416264"/>
              <a:ext cx="344262" cy="344262"/>
            </a:xfrm>
            <a:prstGeom prst="rect">
              <a:avLst/>
            </a:prstGeom>
            <a:noFill/>
          </p:spPr>
          <p:txBody>
            <a:bodyPr lIns="0" tIns="0" rIns="0" bIns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Tx/>
                <a:buNone/>
                <a:defRPr sz="1200" b="1" i="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  <a:p>
              <a:endParaRPr lang="ru-RU" dirty="0"/>
            </a:p>
          </p:txBody>
        </p:sp>
        <p:sp>
          <p:nvSpPr>
            <p:cNvPr id="30" name="Скругленный прямоугольник 29">
              <a:extLst>
                <a:ext uri="{FF2B5EF4-FFF2-40B4-BE49-F238E27FC236}">
                  <a16:creationId xmlns:a16="http://schemas.microsoft.com/office/drawing/2014/main" id="{A497AFC7-AD16-F44F-8BEF-EA989FCFF8B0}"/>
                </a:ext>
              </a:extLst>
            </p:cNvPr>
            <p:cNvSpPr/>
            <p:nvPr/>
          </p:nvSpPr>
          <p:spPr>
            <a:xfrm>
              <a:off x="337202" y="5416264"/>
              <a:ext cx="344262" cy="344262"/>
            </a:xfrm>
            <a:prstGeom prst="roundRect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Скругленный прямоугольник 36">
              <a:extLst>
                <a:ext uri="{FF2B5EF4-FFF2-40B4-BE49-F238E27FC236}">
                  <a16:creationId xmlns:a16="http://schemas.microsoft.com/office/drawing/2014/main" id="{95851215-98FA-CF48-B530-9E1F1D10C7A0}"/>
                </a:ext>
              </a:extLst>
            </p:cNvPr>
            <p:cNvSpPr/>
            <p:nvPr/>
          </p:nvSpPr>
          <p:spPr>
            <a:xfrm>
              <a:off x="808720" y="4830847"/>
              <a:ext cx="2820953" cy="1368000"/>
            </a:xfrm>
            <a:prstGeom prst="roundRect">
              <a:avLst>
                <a:gd name="adj" fmla="val 7642"/>
              </a:avLst>
            </a:prstGeom>
            <a:solidFill>
              <a:schemeClr val="tx2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45" name="Скругленный прямоугольник 44">
              <a:extLst>
                <a:ext uri="{FF2B5EF4-FFF2-40B4-BE49-F238E27FC236}">
                  <a16:creationId xmlns:a16="http://schemas.microsoft.com/office/drawing/2014/main" id="{ADF758A6-DEE8-734F-92D6-E6279DE37A6D}"/>
                </a:ext>
              </a:extLst>
            </p:cNvPr>
            <p:cNvSpPr/>
            <p:nvPr/>
          </p:nvSpPr>
          <p:spPr>
            <a:xfrm>
              <a:off x="808721" y="4830847"/>
              <a:ext cx="10574558" cy="1368000"/>
            </a:xfrm>
            <a:prstGeom prst="roundRect">
              <a:avLst>
                <a:gd name="adj" fmla="val 7642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3" name="Прямоугольник 52">
              <a:extLst>
                <a:ext uri="{FF2B5EF4-FFF2-40B4-BE49-F238E27FC236}">
                  <a16:creationId xmlns:a16="http://schemas.microsoft.com/office/drawing/2014/main" id="{88B4933C-6D4B-114A-A343-10B78CFFDD23}"/>
                </a:ext>
              </a:extLst>
            </p:cNvPr>
            <p:cNvSpPr/>
            <p:nvPr/>
          </p:nvSpPr>
          <p:spPr>
            <a:xfrm>
              <a:off x="3761409" y="5019474"/>
              <a:ext cx="7413272" cy="881308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71450" marR="0" lvl="1" indent="-171450" algn="l" defTabSz="102019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B8B2D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200" dirty="0" smtClean="0">
                  <a:latin typeface="Arial" panose="020B0604020202020204"/>
                </a:rPr>
                <a:t>Во всех регионах присутствия имеется достаточное число абитуриентов в ТУ УГМК</a:t>
              </a:r>
            </a:p>
            <a:p>
              <a:pPr marL="171450" marR="0" lvl="1" indent="-171450" algn="l" defTabSz="102019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B8B2D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Единые принципы работы со школьниками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4" name="Прямоугольник 53">
              <a:extLst>
                <a:ext uri="{FF2B5EF4-FFF2-40B4-BE49-F238E27FC236}">
                  <a16:creationId xmlns:a16="http://schemas.microsoft.com/office/drawing/2014/main" id="{278F781A-DFE5-9F4C-873F-9180439A91ED}"/>
                </a:ext>
              </a:extLst>
            </p:cNvPr>
            <p:cNvSpPr/>
            <p:nvPr/>
          </p:nvSpPr>
          <p:spPr>
            <a:xfrm>
              <a:off x="1050585" y="5422513"/>
              <a:ext cx="2408471" cy="18466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ru-RU" sz="1200" b="1" dirty="0" smtClean="0"/>
                <a:t>Критерии эффективности</a:t>
              </a:r>
              <a:endParaRPr lang="ru-RU" sz="1200" b="1" dirty="0"/>
            </a:p>
          </p:txBody>
        </p:sp>
        <p:sp>
          <p:nvSpPr>
            <p:cNvPr id="32" name="Полилиния 31">
              <a:extLst>
                <a:ext uri="{FF2B5EF4-FFF2-40B4-BE49-F238E27FC236}">
                  <a16:creationId xmlns:a16="http://schemas.microsoft.com/office/drawing/2014/main" id="{A91B6787-568D-2B42-9E1B-6745C3FA3AD4}"/>
                </a:ext>
              </a:extLst>
            </p:cNvPr>
            <p:cNvSpPr/>
            <p:nvPr/>
          </p:nvSpPr>
          <p:spPr>
            <a:xfrm>
              <a:off x="0" y="5416264"/>
              <a:ext cx="224704" cy="344262"/>
            </a:xfrm>
            <a:custGeom>
              <a:avLst/>
              <a:gdLst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  <a:gd name="connsiteX6" fmla="*/ 91440 w 224704"/>
                <a:gd name="connsiteY6" fmla="*/ 91440 h 344262"/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4704" h="344262">
                  <a:moveTo>
                    <a:pt x="0" y="0"/>
                  </a:moveTo>
                  <a:lnTo>
                    <a:pt x="167326" y="0"/>
                  </a:lnTo>
                  <a:cubicBezTo>
                    <a:pt x="199015" y="0"/>
                    <a:pt x="224704" y="25689"/>
                    <a:pt x="224704" y="57378"/>
                  </a:cubicBezTo>
                  <a:lnTo>
                    <a:pt x="224704" y="286884"/>
                  </a:lnTo>
                  <a:cubicBezTo>
                    <a:pt x="224704" y="318573"/>
                    <a:pt x="199015" y="344262"/>
                    <a:pt x="167326" y="344262"/>
                  </a:cubicBezTo>
                  <a:lnTo>
                    <a:pt x="0" y="344262"/>
                  </a:lnTo>
                </a:path>
              </a:pathLst>
            </a:cu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1FFBC75B-A01B-AF43-8FB9-0DD574CC6EEE}"/>
              </a:ext>
            </a:extLst>
          </p:cNvPr>
          <p:cNvGrpSpPr/>
          <p:nvPr/>
        </p:nvGrpSpPr>
        <p:grpSpPr>
          <a:xfrm>
            <a:off x="0" y="4479806"/>
            <a:ext cx="11383279" cy="1012114"/>
            <a:chOff x="0" y="3308228"/>
            <a:chExt cx="11383279" cy="1368000"/>
          </a:xfrm>
        </p:grpSpPr>
        <p:sp>
          <p:nvSpPr>
            <p:cNvPr id="27" name="Скругленный прямоугольник 26">
              <a:extLst>
                <a:ext uri="{FF2B5EF4-FFF2-40B4-BE49-F238E27FC236}">
                  <a16:creationId xmlns:a16="http://schemas.microsoft.com/office/drawing/2014/main" id="{C9099F81-81B1-B848-9874-E3493041E2F7}"/>
                </a:ext>
              </a:extLst>
            </p:cNvPr>
            <p:cNvSpPr/>
            <p:nvPr/>
          </p:nvSpPr>
          <p:spPr>
            <a:xfrm>
              <a:off x="337202" y="3813178"/>
              <a:ext cx="344262" cy="344262"/>
            </a:xfrm>
            <a:prstGeom prst="roundRect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6" name="Скругленный прямоугольник 35">
              <a:extLst>
                <a:ext uri="{FF2B5EF4-FFF2-40B4-BE49-F238E27FC236}">
                  <a16:creationId xmlns:a16="http://schemas.microsoft.com/office/drawing/2014/main" id="{20A4D0C7-98E4-5D4B-86C8-1DBA774D28C5}"/>
                </a:ext>
              </a:extLst>
            </p:cNvPr>
            <p:cNvSpPr/>
            <p:nvPr/>
          </p:nvSpPr>
          <p:spPr>
            <a:xfrm>
              <a:off x="808720" y="3308228"/>
              <a:ext cx="2820953" cy="1368000"/>
            </a:xfrm>
            <a:prstGeom prst="roundRect">
              <a:avLst>
                <a:gd name="adj" fmla="val 7642"/>
              </a:avLst>
            </a:prstGeom>
            <a:solidFill>
              <a:schemeClr val="tx2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Скругленный прямоугольник 47">
              <a:extLst>
                <a:ext uri="{FF2B5EF4-FFF2-40B4-BE49-F238E27FC236}">
                  <a16:creationId xmlns:a16="http://schemas.microsoft.com/office/drawing/2014/main" id="{F72B015F-1573-914E-BD20-6F86CE14A7E8}"/>
                </a:ext>
              </a:extLst>
            </p:cNvPr>
            <p:cNvSpPr/>
            <p:nvPr/>
          </p:nvSpPr>
          <p:spPr>
            <a:xfrm>
              <a:off x="808721" y="3308228"/>
              <a:ext cx="10574558" cy="1368000"/>
            </a:xfrm>
            <a:prstGeom prst="roundRect">
              <a:avLst>
                <a:gd name="adj" fmla="val 7642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Прямоугольник 51">
              <a:extLst>
                <a:ext uri="{FF2B5EF4-FFF2-40B4-BE49-F238E27FC236}">
                  <a16:creationId xmlns:a16="http://schemas.microsoft.com/office/drawing/2014/main" id="{C23E26B0-1A88-E14D-80FE-43001D54A154}"/>
                </a:ext>
              </a:extLst>
            </p:cNvPr>
            <p:cNvSpPr/>
            <p:nvPr/>
          </p:nvSpPr>
          <p:spPr>
            <a:xfrm>
              <a:off x="3764224" y="3529451"/>
              <a:ext cx="7413272" cy="977598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71450" marR="0" lvl="1" indent="-171450" algn="l" defTabSz="102019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B8B2D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200" dirty="0" smtClean="0">
                  <a:latin typeface="Arial" panose="020B0604020202020204"/>
                </a:rPr>
                <a:t>Увеличение числа кандидатов на поступление в Технический университет УГМК</a:t>
              </a:r>
            </a:p>
            <a:p>
              <a:pPr marL="171450" marR="0" lvl="1" indent="-171450" algn="l" defTabSz="102019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B8B2D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200" dirty="0" smtClean="0">
                  <a:latin typeface="Arial" panose="020B0604020202020204"/>
                </a:rPr>
                <a:t>Повышение уровня подготовки абитуриентов от предприятий </a:t>
              </a:r>
            </a:p>
            <a:p>
              <a:pPr marL="171450" marR="0" lvl="1" indent="-171450" algn="l" defTabSz="1020196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B8B2D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200" dirty="0" smtClean="0">
                  <a:latin typeface="Arial" panose="020B0604020202020204"/>
                </a:rPr>
                <a:t>Увеличение привлекательности «заводских» профессий и организаций УГМК</a:t>
              </a:r>
            </a:p>
          </p:txBody>
        </p:sp>
        <p:sp>
          <p:nvSpPr>
            <p:cNvPr id="55" name="Прямоугольник 54">
              <a:extLst>
                <a:ext uri="{FF2B5EF4-FFF2-40B4-BE49-F238E27FC236}">
                  <a16:creationId xmlns:a16="http://schemas.microsoft.com/office/drawing/2014/main" id="{FC72C2C1-3708-A24D-9553-4071A8AED669}"/>
                </a:ext>
              </a:extLst>
            </p:cNvPr>
            <p:cNvSpPr/>
            <p:nvPr/>
          </p:nvSpPr>
          <p:spPr>
            <a:xfrm>
              <a:off x="1050585" y="3899894"/>
              <a:ext cx="2408471" cy="18466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ru-RU" sz="1200" b="1" dirty="0" smtClean="0"/>
                <a:t>Планируемый эффект</a:t>
              </a:r>
              <a:endParaRPr lang="ru-RU" sz="1200" b="1" dirty="0"/>
            </a:p>
          </p:txBody>
        </p:sp>
        <p:sp>
          <p:nvSpPr>
            <p:cNvPr id="33" name="Полилиния 32">
              <a:extLst>
                <a:ext uri="{FF2B5EF4-FFF2-40B4-BE49-F238E27FC236}">
                  <a16:creationId xmlns:a16="http://schemas.microsoft.com/office/drawing/2014/main" id="{5981E042-253E-9D4B-8433-2C0917366A12}"/>
                </a:ext>
              </a:extLst>
            </p:cNvPr>
            <p:cNvSpPr/>
            <p:nvPr/>
          </p:nvSpPr>
          <p:spPr>
            <a:xfrm>
              <a:off x="0" y="3813178"/>
              <a:ext cx="224704" cy="344262"/>
            </a:xfrm>
            <a:custGeom>
              <a:avLst/>
              <a:gdLst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  <a:gd name="connsiteX6" fmla="*/ 91440 w 224704"/>
                <a:gd name="connsiteY6" fmla="*/ 91440 h 344262"/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4704" h="344262">
                  <a:moveTo>
                    <a:pt x="0" y="0"/>
                  </a:moveTo>
                  <a:lnTo>
                    <a:pt x="167326" y="0"/>
                  </a:lnTo>
                  <a:cubicBezTo>
                    <a:pt x="199015" y="0"/>
                    <a:pt x="224704" y="25689"/>
                    <a:pt x="224704" y="57378"/>
                  </a:cubicBezTo>
                  <a:lnTo>
                    <a:pt x="224704" y="286884"/>
                  </a:lnTo>
                  <a:cubicBezTo>
                    <a:pt x="224704" y="318573"/>
                    <a:pt x="199015" y="344262"/>
                    <a:pt x="167326" y="344262"/>
                  </a:cubicBezTo>
                  <a:lnTo>
                    <a:pt x="0" y="344262"/>
                  </a:lnTo>
                </a:path>
              </a:pathLst>
            </a:cu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9286C560-847E-9147-93E5-DDCA1DD5E430}"/>
              </a:ext>
            </a:extLst>
          </p:cNvPr>
          <p:cNvGrpSpPr/>
          <p:nvPr/>
        </p:nvGrpSpPr>
        <p:grpSpPr>
          <a:xfrm>
            <a:off x="2815" y="3034701"/>
            <a:ext cx="11383279" cy="1361189"/>
            <a:chOff x="0" y="1785609"/>
            <a:chExt cx="11383279" cy="1368000"/>
          </a:xfrm>
        </p:grpSpPr>
        <p:sp>
          <p:nvSpPr>
            <p:cNvPr id="43" name="Скругленный прямоугольник 42">
              <a:extLst>
                <a:ext uri="{FF2B5EF4-FFF2-40B4-BE49-F238E27FC236}">
                  <a16:creationId xmlns:a16="http://schemas.microsoft.com/office/drawing/2014/main" id="{140F161B-C386-1D44-9718-3BB344E96E29}"/>
                </a:ext>
              </a:extLst>
            </p:cNvPr>
            <p:cNvSpPr/>
            <p:nvPr/>
          </p:nvSpPr>
          <p:spPr>
            <a:xfrm>
              <a:off x="808721" y="1785609"/>
              <a:ext cx="10574558" cy="1368000"/>
            </a:xfrm>
            <a:prstGeom prst="roundRect">
              <a:avLst>
                <a:gd name="adj" fmla="val 7642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5" name="Скругленный прямоугольник 34">
              <a:extLst>
                <a:ext uri="{FF2B5EF4-FFF2-40B4-BE49-F238E27FC236}">
                  <a16:creationId xmlns:a16="http://schemas.microsoft.com/office/drawing/2014/main" id="{5995662C-1B1B-FD47-B4E5-BECBBF23686A}"/>
                </a:ext>
              </a:extLst>
            </p:cNvPr>
            <p:cNvSpPr/>
            <p:nvPr/>
          </p:nvSpPr>
          <p:spPr>
            <a:xfrm>
              <a:off x="808720" y="1785609"/>
              <a:ext cx="2820953" cy="1368000"/>
            </a:xfrm>
            <a:prstGeom prst="roundRect">
              <a:avLst>
                <a:gd name="adj" fmla="val 7642"/>
              </a:avLst>
            </a:prstGeom>
            <a:solidFill>
              <a:schemeClr val="tx2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Скругленный прямоугольник 23">
              <a:extLst>
                <a:ext uri="{FF2B5EF4-FFF2-40B4-BE49-F238E27FC236}">
                  <a16:creationId xmlns:a16="http://schemas.microsoft.com/office/drawing/2014/main" id="{2EB03AAB-1E1C-6D4B-9FD3-4FB90D84ED6E}"/>
                </a:ext>
              </a:extLst>
            </p:cNvPr>
            <p:cNvSpPr/>
            <p:nvPr/>
          </p:nvSpPr>
          <p:spPr>
            <a:xfrm>
              <a:off x="337202" y="2210091"/>
              <a:ext cx="344262" cy="344262"/>
            </a:xfrm>
            <a:prstGeom prst="roundRect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Прямоугольник 50">
              <a:extLst>
                <a:ext uri="{FF2B5EF4-FFF2-40B4-BE49-F238E27FC236}">
                  <a16:creationId xmlns:a16="http://schemas.microsoft.com/office/drawing/2014/main" id="{F7BE29E3-A9B5-5445-A45B-38DB74F7A66F}"/>
                </a:ext>
              </a:extLst>
            </p:cNvPr>
            <p:cNvSpPr/>
            <p:nvPr/>
          </p:nvSpPr>
          <p:spPr>
            <a:xfrm>
              <a:off x="3761409" y="1884834"/>
              <a:ext cx="7413272" cy="276999"/>
            </a:xfrm>
            <a:prstGeom prst="rect">
              <a:avLst/>
            </a:prstGeom>
            <a:ln>
              <a:noFill/>
            </a:ln>
          </p:spPr>
          <p:txBody>
            <a:bodyPr wrap="square" anchor="t">
              <a:spAutoFit/>
            </a:bodyPr>
            <a:lstStyle/>
            <a:p>
              <a:pPr marL="171450" lvl="1" indent="-171450" defTabSz="1020196">
                <a:spcBef>
                  <a:spcPts val="3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endParaRPr lang="ru-RU" sz="1200" dirty="0"/>
            </a:p>
          </p:txBody>
        </p:sp>
        <p:sp>
          <p:nvSpPr>
            <p:cNvPr id="56" name="Прямоугольник 55">
              <a:extLst>
                <a:ext uri="{FF2B5EF4-FFF2-40B4-BE49-F238E27FC236}">
                  <a16:creationId xmlns:a16="http://schemas.microsoft.com/office/drawing/2014/main" id="{E921F2D0-0F71-E54B-BD00-CB9C6713154E}"/>
                </a:ext>
              </a:extLst>
            </p:cNvPr>
            <p:cNvSpPr/>
            <p:nvPr/>
          </p:nvSpPr>
          <p:spPr>
            <a:xfrm>
              <a:off x="1050585" y="2377275"/>
              <a:ext cx="2408471" cy="18466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ru-RU" sz="1200" b="1" dirty="0" smtClean="0"/>
                <a:t>Краткое </a:t>
              </a:r>
              <a:r>
                <a:rPr lang="ru-RU" sz="1200" b="1" dirty="0" smtClean="0"/>
                <a:t>описание проекта</a:t>
              </a:r>
              <a:endParaRPr lang="ru-RU" sz="1200" b="1" dirty="0"/>
            </a:p>
          </p:txBody>
        </p:sp>
        <p:sp>
          <p:nvSpPr>
            <p:cNvPr id="34" name="Полилиния 33">
              <a:extLst>
                <a:ext uri="{FF2B5EF4-FFF2-40B4-BE49-F238E27FC236}">
                  <a16:creationId xmlns:a16="http://schemas.microsoft.com/office/drawing/2014/main" id="{2F6B785B-99F7-6448-A369-D41E4B596B88}"/>
                </a:ext>
              </a:extLst>
            </p:cNvPr>
            <p:cNvSpPr/>
            <p:nvPr/>
          </p:nvSpPr>
          <p:spPr>
            <a:xfrm>
              <a:off x="0" y="2210091"/>
              <a:ext cx="224704" cy="344262"/>
            </a:xfrm>
            <a:custGeom>
              <a:avLst/>
              <a:gdLst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  <a:gd name="connsiteX6" fmla="*/ 91440 w 224704"/>
                <a:gd name="connsiteY6" fmla="*/ 91440 h 344262"/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4704" h="344262">
                  <a:moveTo>
                    <a:pt x="0" y="0"/>
                  </a:moveTo>
                  <a:lnTo>
                    <a:pt x="167326" y="0"/>
                  </a:lnTo>
                  <a:cubicBezTo>
                    <a:pt x="199015" y="0"/>
                    <a:pt x="224704" y="25689"/>
                    <a:pt x="224704" y="57378"/>
                  </a:cubicBezTo>
                  <a:lnTo>
                    <a:pt x="224704" y="286884"/>
                  </a:lnTo>
                  <a:cubicBezTo>
                    <a:pt x="224704" y="318573"/>
                    <a:pt x="199015" y="344262"/>
                    <a:pt x="167326" y="344262"/>
                  </a:cubicBezTo>
                  <a:lnTo>
                    <a:pt x="0" y="344262"/>
                  </a:lnTo>
                </a:path>
              </a:pathLst>
            </a:cu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</p:grp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899CCD83-3470-1243-BCAA-7BEBEE1B0D86}"/>
              </a:ext>
            </a:extLst>
          </p:cNvPr>
          <p:cNvGrpSpPr/>
          <p:nvPr/>
        </p:nvGrpSpPr>
        <p:grpSpPr>
          <a:xfrm>
            <a:off x="2815" y="1138580"/>
            <a:ext cx="11383279" cy="1804473"/>
            <a:chOff x="0" y="4830847"/>
            <a:chExt cx="11383279" cy="1292700"/>
          </a:xfrm>
        </p:grpSpPr>
        <p:sp>
          <p:nvSpPr>
            <p:cNvPr id="49" name="Текст 5">
              <a:extLst>
                <a:ext uri="{FF2B5EF4-FFF2-40B4-BE49-F238E27FC236}">
                  <a16:creationId xmlns:a16="http://schemas.microsoft.com/office/drawing/2014/main" id="{90BECE32-ED80-894E-BF39-AD696FEEF453}"/>
                </a:ext>
              </a:extLst>
            </p:cNvPr>
            <p:cNvSpPr txBox="1">
              <a:spLocks/>
            </p:cNvSpPr>
            <p:nvPr/>
          </p:nvSpPr>
          <p:spPr>
            <a:xfrm>
              <a:off x="337202" y="5416264"/>
              <a:ext cx="344262" cy="344262"/>
            </a:xfrm>
            <a:prstGeom prst="rect">
              <a:avLst/>
            </a:prstGeom>
            <a:noFill/>
          </p:spPr>
          <p:txBody>
            <a:bodyPr lIns="0" tIns="0" rIns="0" bIns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Tx/>
                <a:buNone/>
                <a:defRPr sz="1200" b="1" i="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dirty="0"/>
            </a:p>
            <a:p>
              <a:endParaRPr lang="ru-RU" dirty="0"/>
            </a:p>
          </p:txBody>
        </p:sp>
        <p:sp>
          <p:nvSpPr>
            <p:cNvPr id="50" name="Скругленный прямоугольник 49">
              <a:extLst>
                <a:ext uri="{FF2B5EF4-FFF2-40B4-BE49-F238E27FC236}">
                  <a16:creationId xmlns:a16="http://schemas.microsoft.com/office/drawing/2014/main" id="{A497AFC7-AD16-F44F-8BEF-EA989FCFF8B0}"/>
                </a:ext>
              </a:extLst>
            </p:cNvPr>
            <p:cNvSpPr/>
            <p:nvPr/>
          </p:nvSpPr>
          <p:spPr>
            <a:xfrm>
              <a:off x="337202" y="5416264"/>
              <a:ext cx="344262" cy="344262"/>
            </a:xfrm>
            <a:prstGeom prst="roundRect">
              <a:avLst/>
            </a:prstGeom>
            <a:noFill/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Скругленный прямоугольник 56">
              <a:extLst>
                <a:ext uri="{FF2B5EF4-FFF2-40B4-BE49-F238E27FC236}">
                  <a16:creationId xmlns:a16="http://schemas.microsoft.com/office/drawing/2014/main" id="{95851215-98FA-CF48-B530-9E1F1D10C7A0}"/>
                </a:ext>
              </a:extLst>
            </p:cNvPr>
            <p:cNvSpPr/>
            <p:nvPr/>
          </p:nvSpPr>
          <p:spPr>
            <a:xfrm>
              <a:off x="808720" y="4830847"/>
              <a:ext cx="2820953" cy="1292700"/>
            </a:xfrm>
            <a:prstGeom prst="roundRect">
              <a:avLst>
                <a:gd name="adj" fmla="val 7642"/>
              </a:avLst>
            </a:prstGeom>
            <a:solidFill>
              <a:schemeClr val="tx2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58" name="Скругленный прямоугольник 57">
              <a:extLst>
                <a:ext uri="{FF2B5EF4-FFF2-40B4-BE49-F238E27FC236}">
                  <a16:creationId xmlns:a16="http://schemas.microsoft.com/office/drawing/2014/main" id="{ADF758A6-DEE8-734F-92D6-E6279DE37A6D}"/>
                </a:ext>
              </a:extLst>
            </p:cNvPr>
            <p:cNvSpPr/>
            <p:nvPr/>
          </p:nvSpPr>
          <p:spPr>
            <a:xfrm>
              <a:off x="808721" y="4830848"/>
              <a:ext cx="10574558" cy="1292699"/>
            </a:xfrm>
            <a:prstGeom prst="roundRect">
              <a:avLst>
                <a:gd name="adj" fmla="val 7642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Прямоугольник 58">
              <a:extLst>
                <a:ext uri="{FF2B5EF4-FFF2-40B4-BE49-F238E27FC236}">
                  <a16:creationId xmlns:a16="http://schemas.microsoft.com/office/drawing/2014/main" id="{88B4933C-6D4B-114A-A343-10B78CFFDD23}"/>
                </a:ext>
              </a:extLst>
            </p:cNvPr>
            <p:cNvSpPr/>
            <p:nvPr/>
          </p:nvSpPr>
          <p:spPr>
            <a:xfrm>
              <a:off x="3764223" y="4864883"/>
              <a:ext cx="7413272" cy="1234727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0" lvl="1" defTabSz="1020196">
                <a:spcBef>
                  <a:spcPts val="300"/>
                </a:spcBef>
                <a:buClr>
                  <a:schemeClr val="accent1"/>
                </a:buClr>
              </a:pPr>
              <a:r>
                <a:rPr lang="ru-RU" sz="1200" dirty="0" smtClean="0"/>
                <a:t>В городах присутствия УГМК недостаточное </a:t>
              </a:r>
              <a:r>
                <a:rPr lang="ru-RU" sz="1200" dirty="0"/>
                <a:t>число школьников – кандидатов на целевое обучение в Техническом университете </a:t>
              </a:r>
              <a:r>
                <a:rPr lang="ru-RU" sz="1200" dirty="0" smtClean="0"/>
                <a:t>УГМК, а также в других организация высшего </a:t>
              </a:r>
              <a:r>
                <a:rPr lang="ru-RU" sz="1200" dirty="0"/>
                <a:t>и </a:t>
              </a:r>
              <a:r>
                <a:rPr lang="ru-RU" sz="1200" dirty="0" smtClean="0"/>
                <a:t>среднего профессионального образования по направлениям, актуальным для организаций компании.</a:t>
              </a:r>
            </a:p>
            <a:p>
              <a:pPr marL="0" lvl="1" defTabSz="1020196">
                <a:spcBef>
                  <a:spcPts val="300"/>
                </a:spcBef>
                <a:buClr>
                  <a:schemeClr val="accent1"/>
                </a:buClr>
              </a:pPr>
              <a:r>
                <a:rPr lang="ru-RU" sz="1200" dirty="0" smtClean="0"/>
                <a:t>Причины:</a:t>
              </a:r>
              <a:endParaRPr lang="ru-RU" sz="1200" dirty="0"/>
            </a:p>
            <a:p>
              <a:pPr marL="171450" lvl="1" indent="-171450" defTabSz="1020196">
                <a:spcBef>
                  <a:spcPts val="3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ru-RU" sz="1200" dirty="0"/>
                <a:t>Н</a:t>
              </a:r>
              <a:r>
                <a:rPr lang="ru-RU" sz="1200" dirty="0" smtClean="0"/>
                <a:t>изкий уровень </a:t>
              </a:r>
              <a:r>
                <a:rPr lang="ru-RU" sz="1200" dirty="0"/>
                <a:t>преподавания естественно-научных дисциплин и </a:t>
              </a:r>
              <a:r>
                <a:rPr lang="ru-RU" sz="1200" dirty="0" smtClean="0"/>
                <a:t>математики</a:t>
              </a:r>
              <a:endParaRPr lang="ru-RU" sz="1200" dirty="0"/>
            </a:p>
            <a:p>
              <a:pPr marL="171450" lvl="1" indent="-171450" defTabSz="1020196">
                <a:spcBef>
                  <a:spcPts val="3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ru-RU" sz="1200" dirty="0"/>
                <a:t>Н</a:t>
              </a:r>
              <a:r>
                <a:rPr lang="ru-RU" sz="1200" dirty="0" smtClean="0"/>
                <a:t>изкая информированность </a:t>
              </a:r>
              <a:r>
                <a:rPr lang="ru-RU" sz="1200" dirty="0"/>
                <a:t>школьников о профессиях и возможной карьере на предприятиях </a:t>
              </a:r>
              <a:r>
                <a:rPr lang="ru-RU" sz="1200" dirty="0" smtClean="0"/>
                <a:t>УГМК </a:t>
              </a:r>
            </a:p>
            <a:p>
              <a:pPr marL="171450" lvl="1" indent="-171450" defTabSz="1020196">
                <a:spcBef>
                  <a:spcPts val="3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ru-RU" sz="1200" dirty="0"/>
                <a:t>О</a:t>
              </a:r>
              <a:r>
                <a:rPr lang="ru-RU" sz="1200" dirty="0" smtClean="0"/>
                <a:t>тток </a:t>
              </a:r>
              <a:r>
                <a:rPr lang="ru-RU" sz="1200" dirty="0"/>
                <a:t>абитуриентов из городов с ограниченным рынком труда и социальной </a:t>
              </a:r>
              <a:r>
                <a:rPr lang="ru-RU" sz="1200" dirty="0" smtClean="0"/>
                <a:t>инфраструктурой</a:t>
              </a:r>
              <a:endParaRPr lang="ru-RU" sz="1200" dirty="0"/>
            </a:p>
          </p:txBody>
        </p:sp>
        <p:sp>
          <p:nvSpPr>
            <p:cNvPr id="60" name="Прямоугольник 59">
              <a:extLst>
                <a:ext uri="{FF2B5EF4-FFF2-40B4-BE49-F238E27FC236}">
                  <a16:creationId xmlns:a16="http://schemas.microsoft.com/office/drawing/2014/main" id="{278F781A-DFE5-9F4C-873F-9180439A91ED}"/>
                </a:ext>
              </a:extLst>
            </p:cNvPr>
            <p:cNvSpPr/>
            <p:nvPr/>
          </p:nvSpPr>
          <p:spPr>
            <a:xfrm>
              <a:off x="1050585" y="5438624"/>
              <a:ext cx="2408471" cy="15244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r>
                <a:rPr lang="ru-RU" sz="1200" b="1" dirty="0"/>
                <a:t>Проблемная ситуация</a:t>
              </a:r>
            </a:p>
          </p:txBody>
        </p:sp>
        <p:sp>
          <p:nvSpPr>
            <p:cNvPr id="61" name="Полилиния 60">
              <a:extLst>
                <a:ext uri="{FF2B5EF4-FFF2-40B4-BE49-F238E27FC236}">
                  <a16:creationId xmlns:a16="http://schemas.microsoft.com/office/drawing/2014/main" id="{A91B6787-568D-2B42-9E1B-6745C3FA3AD4}"/>
                </a:ext>
              </a:extLst>
            </p:cNvPr>
            <p:cNvSpPr/>
            <p:nvPr/>
          </p:nvSpPr>
          <p:spPr>
            <a:xfrm>
              <a:off x="0" y="5416264"/>
              <a:ext cx="224704" cy="344262"/>
            </a:xfrm>
            <a:custGeom>
              <a:avLst/>
              <a:gdLst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  <a:gd name="connsiteX6" fmla="*/ 91440 w 224704"/>
                <a:gd name="connsiteY6" fmla="*/ 91440 h 344262"/>
                <a:gd name="connsiteX0" fmla="*/ 0 w 224704"/>
                <a:gd name="connsiteY0" fmla="*/ 0 h 344262"/>
                <a:gd name="connsiteX1" fmla="*/ 167326 w 224704"/>
                <a:gd name="connsiteY1" fmla="*/ 0 h 344262"/>
                <a:gd name="connsiteX2" fmla="*/ 224704 w 224704"/>
                <a:gd name="connsiteY2" fmla="*/ 57378 h 344262"/>
                <a:gd name="connsiteX3" fmla="*/ 224704 w 224704"/>
                <a:gd name="connsiteY3" fmla="*/ 286884 h 344262"/>
                <a:gd name="connsiteX4" fmla="*/ 167326 w 224704"/>
                <a:gd name="connsiteY4" fmla="*/ 344262 h 344262"/>
                <a:gd name="connsiteX5" fmla="*/ 0 w 224704"/>
                <a:gd name="connsiteY5" fmla="*/ 344262 h 344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4704" h="344262">
                  <a:moveTo>
                    <a:pt x="0" y="0"/>
                  </a:moveTo>
                  <a:lnTo>
                    <a:pt x="167326" y="0"/>
                  </a:lnTo>
                  <a:cubicBezTo>
                    <a:pt x="199015" y="0"/>
                    <a:pt x="224704" y="25689"/>
                    <a:pt x="224704" y="57378"/>
                  </a:cubicBezTo>
                  <a:lnTo>
                    <a:pt x="224704" y="286884"/>
                  </a:lnTo>
                  <a:cubicBezTo>
                    <a:pt x="224704" y="318573"/>
                    <a:pt x="199015" y="344262"/>
                    <a:pt x="167326" y="344262"/>
                  </a:cubicBezTo>
                  <a:lnTo>
                    <a:pt x="0" y="344262"/>
                  </a:lnTo>
                </a:path>
              </a:pathLst>
            </a:custGeom>
            <a:noFill/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3767038" y="3118617"/>
            <a:ext cx="741045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 defTabSz="1020196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 smtClean="0"/>
              <a:t>Разработка очно-заочной образовательной программы </a:t>
            </a:r>
            <a:r>
              <a:rPr lang="ru-RU" sz="1200" dirty="0" smtClean="0"/>
              <a:t>для школьников</a:t>
            </a:r>
          </a:p>
          <a:p>
            <a:pPr marL="171450" lvl="1" indent="-171450" defTabSz="1020196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 smtClean="0"/>
              <a:t>Отбор </a:t>
            </a:r>
            <a:r>
              <a:rPr lang="ru-RU" sz="1200" dirty="0" smtClean="0"/>
              <a:t>школьников из городов присутствия организаций УГМК </a:t>
            </a:r>
          </a:p>
          <a:p>
            <a:pPr marL="171450" lvl="1" indent="-171450" defTabSz="1020196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 smtClean="0"/>
              <a:t>Дистанционная подготовка по физике, математике и другим предметам</a:t>
            </a:r>
          </a:p>
          <a:p>
            <a:pPr marL="171450" lvl="1" indent="-171450" defTabSz="1020196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 smtClean="0"/>
              <a:t>Очные проектные смены, экскурсии, выполнение проектов по заводской тематике</a:t>
            </a:r>
          </a:p>
          <a:p>
            <a:pPr marL="171450" lvl="1" indent="-171450" defTabSz="1020196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 smtClean="0"/>
              <a:t>Мониторинг учебных достижений и мотивации учащихся, проведение конкурсов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557950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FFFC0E9E-9D5F-8542-A0FA-AF60F6F73F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FFFC0E9E-9D5F-8542-A0FA-AF60F6F73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49291C20-8FE9-BA4C-BAC0-71C5251A6D46}"/>
              </a:ext>
            </a:extLst>
          </p:cNvPr>
          <p:cNvCxnSpPr>
            <a:cxnSpLocks/>
            <a:stCxn id="20" idx="1"/>
            <a:endCxn id="23" idx="1"/>
          </p:cNvCxnSpPr>
          <p:nvPr/>
        </p:nvCxnSpPr>
        <p:spPr>
          <a:xfrm flipH="1">
            <a:off x="4675642" y="1341437"/>
            <a:ext cx="676365" cy="3031578"/>
          </a:xfrm>
          <a:prstGeom prst="straightConnector1">
            <a:avLst/>
          </a:prstGeom>
          <a:ln w="9525">
            <a:solidFill>
              <a:schemeClr val="bg2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>
            <a:extLst>
              <a:ext uri="{FF2B5EF4-FFF2-40B4-BE49-F238E27FC236}">
                <a16:creationId xmlns:a16="http://schemas.microsoft.com/office/drawing/2014/main" id="{18258E3A-0E33-3A4F-B267-9C518073D424}"/>
              </a:ext>
            </a:extLst>
          </p:cNvPr>
          <p:cNvCxnSpPr>
            <a:cxnSpLocks/>
            <a:stCxn id="20" idx="0"/>
            <a:endCxn id="23" idx="0"/>
          </p:cNvCxnSpPr>
          <p:nvPr/>
        </p:nvCxnSpPr>
        <p:spPr>
          <a:xfrm>
            <a:off x="808907" y="1341437"/>
            <a:ext cx="676362" cy="3031578"/>
          </a:xfrm>
          <a:prstGeom prst="straightConnector1">
            <a:avLst/>
          </a:prstGeom>
          <a:ln w="9525">
            <a:solidFill>
              <a:schemeClr val="bg2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B193D5ED-52F0-A04C-AAC9-D592EE5BFAF9}"/>
              </a:ext>
            </a:extLst>
          </p:cNvPr>
          <p:cNvGrpSpPr/>
          <p:nvPr/>
        </p:nvGrpSpPr>
        <p:grpSpPr>
          <a:xfrm>
            <a:off x="2909315" y="1341437"/>
            <a:ext cx="8485437" cy="828000"/>
            <a:chOff x="2909315" y="1341437"/>
            <a:chExt cx="8485437" cy="828000"/>
          </a:xfrm>
        </p:grpSpPr>
        <p:sp>
          <p:nvSpPr>
            <p:cNvPr id="56" name="Скругленный прямоугольник 55">
              <a:extLst>
                <a:ext uri="{FF2B5EF4-FFF2-40B4-BE49-F238E27FC236}">
                  <a16:creationId xmlns:a16="http://schemas.microsoft.com/office/drawing/2014/main" id="{4CFD691F-4A5F-E74C-A7AE-68BD886F140B}"/>
                </a:ext>
              </a:extLst>
            </p:cNvPr>
            <p:cNvSpPr/>
            <p:nvPr/>
          </p:nvSpPr>
          <p:spPr>
            <a:xfrm>
              <a:off x="6107658" y="1341437"/>
              <a:ext cx="5287094" cy="828000"/>
            </a:xfrm>
            <a:prstGeom prst="roundRect">
              <a:avLst>
                <a:gd name="adj" fmla="val 15154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rtlCol="0" anchor="ctr">
              <a:noAutofit/>
            </a:bodyPr>
            <a:lstStyle/>
            <a:p>
              <a:pPr marL="0" lvl="1" defTabSz="1020196">
                <a:spcBef>
                  <a:spcPts val="1200"/>
                </a:spcBef>
              </a:pPr>
              <a:endParaRPr lang="ru-RU" sz="1200" dirty="0" smtClean="0">
                <a:solidFill>
                  <a:srgbClr val="000000"/>
                </a:solidFill>
              </a:endParaRPr>
            </a:p>
            <a:p>
              <a:pPr marL="0" lvl="1" defTabSz="1020196">
                <a:spcBef>
                  <a:spcPts val="600"/>
                </a:spcBef>
              </a:pPr>
              <a:r>
                <a:rPr lang="ru-RU" sz="1200" dirty="0" smtClean="0">
                  <a:solidFill>
                    <a:srgbClr val="000000"/>
                  </a:solidFill>
                </a:rPr>
                <a:t>Информирование о проекте «Инженерная школа УГМК» всех школьников в городах присутствия компании</a:t>
              </a:r>
            </a:p>
            <a:p>
              <a:pPr marL="0" lvl="1" defTabSz="1020196">
                <a:spcBef>
                  <a:spcPts val="600"/>
                </a:spcBef>
              </a:pPr>
              <a:r>
                <a:rPr lang="ru-RU" sz="1200" dirty="0" smtClean="0">
                  <a:solidFill>
                    <a:srgbClr val="000000"/>
                  </a:solidFill>
                </a:rPr>
                <a:t> Работа с управлениями образования в территориях</a:t>
              </a:r>
              <a:endParaRPr lang="ru-RU" sz="1200" dirty="0">
                <a:solidFill>
                  <a:srgbClr val="000000"/>
                </a:solidFill>
              </a:endParaRPr>
            </a:p>
            <a:p>
              <a:pPr marL="0" lvl="1" defTabSz="1020196">
                <a:spcBef>
                  <a:spcPts val="1200"/>
                </a:spcBef>
              </a:pPr>
              <a:r>
                <a:rPr lang="ru-RU" sz="1200" dirty="0" smtClean="0"/>
                <a:t> </a:t>
              </a:r>
              <a:r>
                <a:rPr lang="ru-RU" sz="1200" dirty="0"/>
                <a:t>УГМК </a:t>
              </a:r>
            </a:p>
          </p:txBody>
        </p:sp>
        <p:cxnSp>
          <p:nvCxnSpPr>
            <p:cNvPr id="12" name="Elbow Connector 96">
              <a:extLst>
                <a:ext uri="{FF2B5EF4-FFF2-40B4-BE49-F238E27FC236}">
                  <a16:creationId xmlns:a16="http://schemas.microsoft.com/office/drawing/2014/main" id="{F9939276-AA76-884E-A7EB-5D66F65472A7}"/>
                </a:ext>
              </a:extLst>
            </p:cNvPr>
            <p:cNvCxnSpPr>
              <a:cxnSpLocks/>
            </p:cNvCxnSpPr>
            <p:nvPr/>
          </p:nvCxnSpPr>
          <p:spPr>
            <a:xfrm>
              <a:off x="2909315" y="1755437"/>
              <a:ext cx="3190636" cy="0"/>
            </a:xfrm>
            <a:prstGeom prst="straightConnector1">
              <a:avLst/>
            </a:prstGeom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D4702E3F-0963-A848-B9BA-EDFC16394745}"/>
              </a:ext>
            </a:extLst>
          </p:cNvPr>
          <p:cNvGrpSpPr/>
          <p:nvPr/>
        </p:nvGrpSpPr>
        <p:grpSpPr>
          <a:xfrm>
            <a:off x="2909315" y="5370997"/>
            <a:ext cx="8485437" cy="828000"/>
            <a:chOff x="2909315" y="5370997"/>
            <a:chExt cx="8485437" cy="828000"/>
          </a:xfrm>
        </p:grpSpPr>
        <p:sp>
          <p:nvSpPr>
            <p:cNvPr id="68" name="Скругленный прямоугольник 67">
              <a:extLst>
                <a:ext uri="{FF2B5EF4-FFF2-40B4-BE49-F238E27FC236}">
                  <a16:creationId xmlns:a16="http://schemas.microsoft.com/office/drawing/2014/main" id="{C932BF38-885C-1D4E-9D16-748F77BBAC55}"/>
                </a:ext>
              </a:extLst>
            </p:cNvPr>
            <p:cNvSpPr/>
            <p:nvPr/>
          </p:nvSpPr>
          <p:spPr>
            <a:xfrm>
              <a:off x="6107658" y="5370997"/>
              <a:ext cx="5287094" cy="828000"/>
            </a:xfrm>
            <a:prstGeom prst="roundRect">
              <a:avLst>
                <a:gd name="adj" fmla="val 15154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rtlCol="0" anchor="ctr">
              <a:noAutofit/>
            </a:bodyPr>
            <a:lstStyle/>
            <a:p>
              <a:r>
                <a:rPr lang="ru-RU" sz="1200" dirty="0" smtClean="0">
                  <a:solidFill>
                    <a:schemeClr val="tx1"/>
                  </a:solidFill>
                </a:rPr>
                <a:t>Зачисление отобранных кандидатов в Инженерную школу УГМК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0" name="Elbow Connector 96">
              <a:extLst>
                <a:ext uri="{FF2B5EF4-FFF2-40B4-BE49-F238E27FC236}">
                  <a16:creationId xmlns:a16="http://schemas.microsoft.com/office/drawing/2014/main" id="{5D287E4D-1874-C140-8DE8-1FF267AFBAF9}"/>
                </a:ext>
              </a:extLst>
            </p:cNvPr>
            <p:cNvCxnSpPr>
              <a:cxnSpLocks/>
            </p:cNvCxnSpPr>
            <p:nvPr/>
          </p:nvCxnSpPr>
          <p:spPr>
            <a:xfrm>
              <a:off x="2909315" y="5797541"/>
              <a:ext cx="3190636" cy="0"/>
            </a:xfrm>
            <a:prstGeom prst="straightConnector1">
              <a:avLst/>
            </a:prstGeom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4EA999EE-F72E-2444-89A9-610BE735AFB8}"/>
              </a:ext>
            </a:extLst>
          </p:cNvPr>
          <p:cNvGrpSpPr/>
          <p:nvPr/>
        </p:nvGrpSpPr>
        <p:grpSpPr>
          <a:xfrm>
            <a:off x="2919021" y="3356217"/>
            <a:ext cx="8475731" cy="828000"/>
            <a:chOff x="2603137" y="1502203"/>
            <a:chExt cx="8475731" cy="828000"/>
          </a:xfrm>
        </p:grpSpPr>
        <p:sp>
          <p:nvSpPr>
            <p:cNvPr id="65" name="Скругленный прямоугольник 64">
              <a:extLst>
                <a:ext uri="{FF2B5EF4-FFF2-40B4-BE49-F238E27FC236}">
                  <a16:creationId xmlns:a16="http://schemas.microsoft.com/office/drawing/2014/main" id="{0958B03F-47B3-6F4F-BCF7-0697A3E23CF3}"/>
                </a:ext>
              </a:extLst>
            </p:cNvPr>
            <p:cNvSpPr/>
            <p:nvPr/>
          </p:nvSpPr>
          <p:spPr>
            <a:xfrm>
              <a:off x="5791774" y="1502203"/>
              <a:ext cx="5287094" cy="828000"/>
            </a:xfrm>
            <a:prstGeom prst="roundRect">
              <a:avLst>
                <a:gd name="adj" fmla="val 15154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rtlCol="0" anchor="ctr">
              <a:noAutofit/>
            </a:bodyPr>
            <a:lstStyle/>
            <a:p>
              <a:r>
                <a:rPr lang="ru-RU" sz="1200" dirty="0" smtClean="0">
                  <a:solidFill>
                    <a:schemeClr val="tx1"/>
                  </a:solidFill>
                </a:rPr>
                <a:t>Отбор школьников, имеющих достижения </a:t>
              </a:r>
              <a:r>
                <a:rPr lang="ru-RU" sz="1200" dirty="0">
                  <a:solidFill>
                    <a:srgbClr val="000000"/>
                  </a:solidFill>
                </a:rPr>
                <a:t>по математике, информатике, физике, </a:t>
              </a:r>
              <a:r>
                <a:rPr lang="ru-RU" sz="1200" dirty="0" smtClean="0">
                  <a:solidFill>
                    <a:srgbClr val="000000"/>
                  </a:solidFill>
                </a:rPr>
                <a:t>химии на основании рекомендаций управлений образования городов присутствия УГМК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3" name="Elbow Connector 96">
              <a:extLst>
                <a:ext uri="{FF2B5EF4-FFF2-40B4-BE49-F238E27FC236}">
                  <a16:creationId xmlns:a16="http://schemas.microsoft.com/office/drawing/2014/main" id="{31F362CB-4ABB-7044-BA10-EAB3C25FDD3B}"/>
                </a:ext>
              </a:extLst>
            </p:cNvPr>
            <p:cNvCxnSpPr>
              <a:cxnSpLocks/>
            </p:cNvCxnSpPr>
            <p:nvPr/>
          </p:nvCxnSpPr>
          <p:spPr>
            <a:xfrm>
              <a:off x="2603137" y="1908843"/>
              <a:ext cx="3190636" cy="0"/>
            </a:xfrm>
            <a:prstGeom prst="straightConnector1">
              <a:avLst/>
            </a:prstGeom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88580101-6CF1-CB4E-A591-838744416A18}"/>
              </a:ext>
            </a:extLst>
          </p:cNvPr>
          <p:cNvGrpSpPr/>
          <p:nvPr/>
        </p:nvGrpSpPr>
        <p:grpSpPr>
          <a:xfrm>
            <a:off x="2909315" y="2341388"/>
            <a:ext cx="8485437" cy="828000"/>
            <a:chOff x="2909315" y="3356217"/>
            <a:chExt cx="8485437" cy="828000"/>
          </a:xfrm>
        </p:grpSpPr>
        <p:sp>
          <p:nvSpPr>
            <p:cNvPr id="66" name="Скругленный прямоугольник 65">
              <a:extLst>
                <a:ext uri="{FF2B5EF4-FFF2-40B4-BE49-F238E27FC236}">
                  <a16:creationId xmlns:a16="http://schemas.microsoft.com/office/drawing/2014/main" id="{4C87E176-5F9C-F344-9C54-0F0E8C678552}"/>
                </a:ext>
              </a:extLst>
            </p:cNvPr>
            <p:cNvSpPr/>
            <p:nvPr/>
          </p:nvSpPr>
          <p:spPr>
            <a:xfrm>
              <a:off x="6107658" y="3356217"/>
              <a:ext cx="5287094" cy="828000"/>
            </a:xfrm>
            <a:prstGeom prst="roundRect">
              <a:avLst>
                <a:gd name="adj" fmla="val 15154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rtlCol="0" anchor="ctr">
              <a:noAutofit/>
            </a:bodyPr>
            <a:lstStyle/>
            <a:p>
              <a:r>
                <a:rPr lang="ru-RU" sz="1200" dirty="0" smtClean="0">
                  <a:solidFill>
                    <a:schemeClr val="tx1"/>
                  </a:solidFill>
                </a:rPr>
                <a:t>Отбор школьников, проявляющих интерес к проекту «Инженерная школа УГМК»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Elbow Connector 96">
              <a:extLst>
                <a:ext uri="{FF2B5EF4-FFF2-40B4-BE49-F238E27FC236}">
                  <a16:creationId xmlns:a16="http://schemas.microsoft.com/office/drawing/2014/main" id="{EDE3C7C0-41D8-5944-9C07-82E6DD1DBC17}"/>
                </a:ext>
              </a:extLst>
            </p:cNvPr>
            <p:cNvCxnSpPr>
              <a:cxnSpLocks/>
            </p:cNvCxnSpPr>
            <p:nvPr/>
          </p:nvCxnSpPr>
          <p:spPr>
            <a:xfrm>
              <a:off x="2909315" y="3776489"/>
              <a:ext cx="3190636" cy="0"/>
            </a:xfrm>
            <a:prstGeom prst="straightConnector1">
              <a:avLst/>
            </a:prstGeom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F8CBEB72-BBEA-944C-AEC6-0079937F36A2}"/>
              </a:ext>
            </a:extLst>
          </p:cNvPr>
          <p:cNvGrpSpPr/>
          <p:nvPr/>
        </p:nvGrpSpPr>
        <p:grpSpPr>
          <a:xfrm>
            <a:off x="2909315" y="4363607"/>
            <a:ext cx="8485437" cy="828000"/>
            <a:chOff x="2909315" y="4363607"/>
            <a:chExt cx="8485437" cy="828000"/>
          </a:xfrm>
        </p:grpSpPr>
        <p:sp>
          <p:nvSpPr>
            <p:cNvPr id="67" name="Скругленный прямоугольник 66">
              <a:extLst>
                <a:ext uri="{FF2B5EF4-FFF2-40B4-BE49-F238E27FC236}">
                  <a16:creationId xmlns:a16="http://schemas.microsoft.com/office/drawing/2014/main" id="{DD632186-C8D0-4649-A2AA-5BB59DE15CD3}"/>
                </a:ext>
              </a:extLst>
            </p:cNvPr>
            <p:cNvSpPr/>
            <p:nvPr/>
          </p:nvSpPr>
          <p:spPr>
            <a:xfrm>
              <a:off x="6107658" y="4363607"/>
              <a:ext cx="5287094" cy="828000"/>
            </a:xfrm>
            <a:prstGeom prst="roundRect">
              <a:avLst>
                <a:gd name="adj" fmla="val 15154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rtlCol="0" anchor="ctr">
              <a:noAutofit/>
            </a:bodyPr>
            <a:lstStyle/>
            <a:p>
              <a:r>
                <a:rPr lang="ru-RU" sz="1200" dirty="0" smtClean="0">
                  <a:solidFill>
                    <a:schemeClr val="tx1"/>
                  </a:solidFill>
                </a:rPr>
                <a:t>Отбор школьников через прохождение входного </a:t>
              </a:r>
              <a:r>
                <a:rPr lang="ru-RU" sz="1200" dirty="0" smtClean="0">
                  <a:solidFill>
                    <a:schemeClr val="tx1"/>
                  </a:solidFill>
                </a:rPr>
                <a:t>тестирования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5" name="Elbow Connector 96">
              <a:extLst>
                <a:ext uri="{FF2B5EF4-FFF2-40B4-BE49-F238E27FC236}">
                  <a16:creationId xmlns:a16="http://schemas.microsoft.com/office/drawing/2014/main" id="{F87BB200-FE1E-0349-96BC-153CB1380DED}"/>
                </a:ext>
              </a:extLst>
            </p:cNvPr>
            <p:cNvCxnSpPr>
              <a:cxnSpLocks/>
            </p:cNvCxnSpPr>
            <p:nvPr/>
          </p:nvCxnSpPr>
          <p:spPr>
            <a:xfrm>
              <a:off x="2909315" y="4787015"/>
              <a:ext cx="3190636" cy="0"/>
            </a:xfrm>
            <a:prstGeom prst="straightConnector1">
              <a:avLst/>
            </a:prstGeom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64B1835F-0B94-3A41-B319-6354716A791C}"/>
              </a:ext>
            </a:extLst>
          </p:cNvPr>
          <p:cNvGrpSpPr/>
          <p:nvPr/>
        </p:nvGrpSpPr>
        <p:grpSpPr>
          <a:xfrm>
            <a:off x="1687557" y="5383541"/>
            <a:ext cx="2785796" cy="828000"/>
            <a:chOff x="1687557" y="5383541"/>
            <a:chExt cx="2785796" cy="828000"/>
          </a:xfrm>
        </p:grpSpPr>
        <p:sp>
          <p:nvSpPr>
            <p:cNvPr id="11" name="Freeform 98">
              <a:extLst>
                <a:ext uri="{FF2B5EF4-FFF2-40B4-BE49-F238E27FC236}">
                  <a16:creationId xmlns:a16="http://schemas.microsoft.com/office/drawing/2014/main" id="{93C0C761-AC2D-094A-8BA3-01CF3D779498}"/>
                </a:ext>
              </a:extLst>
            </p:cNvPr>
            <p:cNvSpPr/>
            <p:nvPr/>
          </p:nvSpPr>
          <p:spPr>
            <a:xfrm>
              <a:off x="1687557" y="5383541"/>
              <a:ext cx="2785796" cy="828000"/>
            </a:xfrm>
            <a:custGeom>
              <a:avLst/>
              <a:gdLst>
                <a:gd name="connsiteX0" fmla="*/ 0 w 1612409"/>
                <a:gd name="connsiteY0" fmla="*/ 0 h 557842"/>
                <a:gd name="connsiteX1" fmla="*/ 1612409 w 1612409"/>
                <a:gd name="connsiteY1" fmla="*/ 0 h 557842"/>
                <a:gd name="connsiteX2" fmla="*/ 1551601 w 1612409"/>
                <a:gd name="connsiteY2" fmla="*/ 557842 h 557842"/>
                <a:gd name="connsiteX3" fmla="*/ 60808 w 1612409"/>
                <a:gd name="connsiteY3" fmla="*/ 557842 h 55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2409" h="557842">
                  <a:moveTo>
                    <a:pt x="0" y="0"/>
                  </a:moveTo>
                  <a:lnTo>
                    <a:pt x="1612409" y="0"/>
                  </a:lnTo>
                  <a:lnTo>
                    <a:pt x="1551601" y="557842"/>
                  </a:lnTo>
                  <a:lnTo>
                    <a:pt x="60808" y="557842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000" tIns="0" rIns="108000" bIns="0" rtlCol="0" anchor="ctr"/>
            <a:lstStyle/>
            <a:p>
              <a:pPr lvl="0">
                <a:lnSpc>
                  <a:spcPct val="90000"/>
                </a:lnSpc>
                <a:defRPr/>
              </a:pPr>
              <a:endParaRPr lang="ru-RU" sz="1200" dirty="0">
                <a:solidFill>
                  <a:srgbClr val="FFFFFF"/>
                </a:solidFill>
              </a:endParaRPr>
            </a:p>
          </p:txBody>
        </p:sp>
        <p:sp>
          <p:nvSpPr>
            <p:cNvPr id="50" name="Прямоугольник 49">
              <a:extLst>
                <a:ext uri="{FF2B5EF4-FFF2-40B4-BE49-F238E27FC236}">
                  <a16:creationId xmlns:a16="http://schemas.microsoft.com/office/drawing/2014/main" id="{A768B2C2-5F99-C04D-82E1-0CC74090878B}"/>
                </a:ext>
              </a:extLst>
            </p:cNvPr>
            <p:cNvSpPr/>
            <p:nvPr/>
          </p:nvSpPr>
          <p:spPr>
            <a:xfrm>
              <a:off x="2784056" y="5631341"/>
              <a:ext cx="1066189" cy="332399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ru-RU" sz="1200" dirty="0" smtClean="0">
                  <a:solidFill>
                    <a:srgbClr val="FFFFFF"/>
                  </a:solidFill>
                </a:rPr>
                <a:t>Зачисление – 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ru-RU" sz="1200" dirty="0" smtClean="0">
                  <a:solidFill>
                    <a:srgbClr val="FFFFFF"/>
                  </a:solidFill>
                </a:rPr>
                <a:t>декабрь 2021 г</a:t>
              </a:r>
              <a:endParaRPr lang="ru-RU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E3E48A16-DF0A-A047-890A-16E1AB7DC51F}"/>
              </a:ext>
            </a:extLst>
          </p:cNvPr>
          <p:cNvGrpSpPr/>
          <p:nvPr/>
        </p:nvGrpSpPr>
        <p:grpSpPr>
          <a:xfrm>
            <a:off x="1485269" y="4373015"/>
            <a:ext cx="3190373" cy="828000"/>
            <a:chOff x="1485269" y="4373015"/>
            <a:chExt cx="3190373" cy="828000"/>
          </a:xfrm>
        </p:grpSpPr>
        <p:sp>
          <p:nvSpPr>
            <p:cNvPr id="23" name="Freeform 98">
              <a:extLst>
                <a:ext uri="{FF2B5EF4-FFF2-40B4-BE49-F238E27FC236}">
                  <a16:creationId xmlns:a16="http://schemas.microsoft.com/office/drawing/2014/main" id="{4AD300C2-D8B5-8A42-ADA1-581BD98818E5}"/>
                </a:ext>
              </a:extLst>
            </p:cNvPr>
            <p:cNvSpPr/>
            <p:nvPr/>
          </p:nvSpPr>
          <p:spPr>
            <a:xfrm>
              <a:off x="1485269" y="4373015"/>
              <a:ext cx="3190373" cy="828000"/>
            </a:xfrm>
            <a:custGeom>
              <a:avLst/>
              <a:gdLst>
                <a:gd name="connsiteX0" fmla="*/ 0 w 1612409"/>
                <a:gd name="connsiteY0" fmla="*/ 0 h 557842"/>
                <a:gd name="connsiteX1" fmla="*/ 1612409 w 1612409"/>
                <a:gd name="connsiteY1" fmla="*/ 0 h 557842"/>
                <a:gd name="connsiteX2" fmla="*/ 1551601 w 1612409"/>
                <a:gd name="connsiteY2" fmla="*/ 557842 h 557842"/>
                <a:gd name="connsiteX3" fmla="*/ 60808 w 1612409"/>
                <a:gd name="connsiteY3" fmla="*/ 557842 h 55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2409" h="557842">
                  <a:moveTo>
                    <a:pt x="0" y="0"/>
                  </a:moveTo>
                  <a:lnTo>
                    <a:pt x="1612409" y="0"/>
                  </a:lnTo>
                  <a:lnTo>
                    <a:pt x="1551601" y="557842"/>
                  </a:lnTo>
                  <a:lnTo>
                    <a:pt x="60808" y="557842"/>
                  </a:lnTo>
                  <a:close/>
                </a:path>
              </a:pathLst>
            </a:custGeom>
            <a:solidFill>
              <a:schemeClr val="accent3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000" tIns="0" rIns="108000" bIns="0" rtlCol="0" anchor="ctr"/>
            <a:lstStyle/>
            <a:p>
              <a:pPr lvl="0">
                <a:lnSpc>
                  <a:spcPct val="90000"/>
                </a:lnSpc>
                <a:defRPr/>
              </a:pPr>
              <a:endParaRPr lang="ru-RU" sz="1200" dirty="0">
                <a:solidFill>
                  <a:srgbClr val="FFFFFF"/>
                </a:solidFill>
              </a:endParaRPr>
            </a:p>
          </p:txBody>
        </p:sp>
        <p:sp>
          <p:nvSpPr>
            <p:cNvPr id="49" name="Прямоугольник 48">
              <a:extLst>
                <a:ext uri="{FF2B5EF4-FFF2-40B4-BE49-F238E27FC236}">
                  <a16:creationId xmlns:a16="http://schemas.microsoft.com/office/drawing/2014/main" id="{EB06F555-B985-2E4C-B5D1-63028B7BEC30}"/>
                </a:ext>
              </a:extLst>
            </p:cNvPr>
            <p:cNvSpPr/>
            <p:nvPr/>
          </p:nvSpPr>
          <p:spPr>
            <a:xfrm>
              <a:off x="2391335" y="4721068"/>
              <a:ext cx="978922" cy="166199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ru-RU" sz="1200" dirty="0">
                  <a:solidFill>
                    <a:srgbClr val="FFFFFF"/>
                  </a:solidFill>
                </a:rPr>
                <a:t>3</a:t>
              </a:r>
              <a:r>
                <a:rPr lang="ru-RU" sz="1200" dirty="0" smtClean="0">
                  <a:solidFill>
                    <a:srgbClr val="FFFFFF"/>
                  </a:solidFill>
                </a:rPr>
                <a:t> </a:t>
              </a:r>
              <a:r>
                <a:rPr lang="ru-RU" sz="1200" dirty="0" smtClean="0">
                  <a:solidFill>
                    <a:srgbClr val="FFFFFF"/>
                  </a:solidFill>
                </a:rPr>
                <a:t>этап отбора</a:t>
              </a:r>
              <a:endParaRPr lang="ru-RU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C6CB0434-5F81-A741-8B70-DD41993F386E}"/>
              </a:ext>
            </a:extLst>
          </p:cNvPr>
          <p:cNvGrpSpPr/>
          <p:nvPr/>
        </p:nvGrpSpPr>
        <p:grpSpPr>
          <a:xfrm>
            <a:off x="1252164" y="3362489"/>
            <a:ext cx="3656582" cy="828000"/>
            <a:chOff x="1252164" y="3362489"/>
            <a:chExt cx="3656582" cy="828000"/>
          </a:xfrm>
        </p:grpSpPr>
        <p:sp>
          <p:nvSpPr>
            <p:cNvPr id="22" name="Freeform 98">
              <a:extLst>
                <a:ext uri="{FF2B5EF4-FFF2-40B4-BE49-F238E27FC236}">
                  <a16:creationId xmlns:a16="http://schemas.microsoft.com/office/drawing/2014/main" id="{FAE66DF8-E516-1B4A-B69A-7F7E5BB2D740}"/>
                </a:ext>
              </a:extLst>
            </p:cNvPr>
            <p:cNvSpPr/>
            <p:nvPr/>
          </p:nvSpPr>
          <p:spPr>
            <a:xfrm>
              <a:off x="1252164" y="3362489"/>
              <a:ext cx="3656582" cy="828000"/>
            </a:xfrm>
            <a:custGeom>
              <a:avLst/>
              <a:gdLst>
                <a:gd name="connsiteX0" fmla="*/ 0 w 1612409"/>
                <a:gd name="connsiteY0" fmla="*/ 0 h 557842"/>
                <a:gd name="connsiteX1" fmla="*/ 1612409 w 1612409"/>
                <a:gd name="connsiteY1" fmla="*/ 0 h 557842"/>
                <a:gd name="connsiteX2" fmla="*/ 1551601 w 1612409"/>
                <a:gd name="connsiteY2" fmla="*/ 557842 h 557842"/>
                <a:gd name="connsiteX3" fmla="*/ 60808 w 1612409"/>
                <a:gd name="connsiteY3" fmla="*/ 557842 h 55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2409" h="557842">
                  <a:moveTo>
                    <a:pt x="0" y="0"/>
                  </a:moveTo>
                  <a:lnTo>
                    <a:pt x="1612409" y="0"/>
                  </a:lnTo>
                  <a:lnTo>
                    <a:pt x="1551601" y="557842"/>
                  </a:lnTo>
                  <a:lnTo>
                    <a:pt x="60808" y="557842"/>
                  </a:lnTo>
                  <a:close/>
                </a:path>
              </a:pathLst>
            </a:custGeom>
            <a:solidFill>
              <a:schemeClr val="accent2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000" tIns="0" rIns="108000" bIns="0" rtlCol="0" anchor="ctr"/>
            <a:lstStyle/>
            <a:p>
              <a:pPr lvl="0">
                <a:lnSpc>
                  <a:spcPct val="90000"/>
                </a:lnSpc>
                <a:defRPr/>
              </a:pPr>
              <a:endParaRPr lang="ru-RU" sz="1200" dirty="0">
                <a:solidFill>
                  <a:srgbClr val="FFFFFF"/>
                </a:solidFill>
              </a:endParaRPr>
            </a:p>
          </p:txBody>
        </p:sp>
        <p:sp>
          <p:nvSpPr>
            <p:cNvPr id="48" name="Прямоугольник 47">
              <a:extLst>
                <a:ext uri="{FF2B5EF4-FFF2-40B4-BE49-F238E27FC236}">
                  <a16:creationId xmlns:a16="http://schemas.microsoft.com/office/drawing/2014/main" id="{38F91A73-8125-9346-A889-40B1AB4416A8}"/>
                </a:ext>
              </a:extLst>
            </p:cNvPr>
            <p:cNvSpPr/>
            <p:nvPr/>
          </p:nvSpPr>
          <p:spPr>
            <a:xfrm>
              <a:off x="2250448" y="3679758"/>
              <a:ext cx="2222905" cy="16619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ru-RU" sz="1200" dirty="0" smtClean="0">
                  <a:solidFill>
                    <a:srgbClr val="FFFFFF"/>
                  </a:solidFill>
                </a:rPr>
                <a:t>2 этап </a:t>
              </a:r>
              <a:r>
                <a:rPr lang="ru-RU" sz="1200" dirty="0" smtClean="0">
                  <a:solidFill>
                    <a:srgbClr val="FFFFFF"/>
                  </a:solidFill>
                </a:rPr>
                <a:t>отбора</a:t>
              </a:r>
              <a:endParaRPr lang="ru-RU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55EB6852-DD2B-344E-9D60-4F1800314D88}"/>
              </a:ext>
            </a:extLst>
          </p:cNvPr>
          <p:cNvGrpSpPr/>
          <p:nvPr/>
        </p:nvGrpSpPr>
        <p:grpSpPr>
          <a:xfrm>
            <a:off x="1030874" y="2351963"/>
            <a:ext cx="4099169" cy="828000"/>
            <a:chOff x="1030874" y="2351963"/>
            <a:chExt cx="4099169" cy="828000"/>
          </a:xfrm>
        </p:grpSpPr>
        <p:sp>
          <p:nvSpPr>
            <p:cNvPr id="21" name="Freeform 96">
              <a:extLst>
                <a:ext uri="{FF2B5EF4-FFF2-40B4-BE49-F238E27FC236}">
                  <a16:creationId xmlns:a16="http://schemas.microsoft.com/office/drawing/2014/main" id="{6EE384CB-CEAA-FC44-87AE-7F6C4AB710E2}"/>
                </a:ext>
              </a:extLst>
            </p:cNvPr>
            <p:cNvSpPr/>
            <p:nvPr/>
          </p:nvSpPr>
          <p:spPr>
            <a:xfrm>
              <a:off x="1030874" y="2351963"/>
              <a:ext cx="4099169" cy="828000"/>
            </a:xfrm>
            <a:custGeom>
              <a:avLst/>
              <a:gdLst>
                <a:gd name="connsiteX0" fmla="*/ 0 w 1807573"/>
                <a:gd name="connsiteY0" fmla="*/ 0 h 557842"/>
                <a:gd name="connsiteX1" fmla="*/ 1807573 w 1807573"/>
                <a:gd name="connsiteY1" fmla="*/ 0 h 557842"/>
                <a:gd name="connsiteX2" fmla="*/ 1746765 w 1807573"/>
                <a:gd name="connsiteY2" fmla="*/ 557842 h 557842"/>
                <a:gd name="connsiteX3" fmla="*/ 60808 w 1807573"/>
                <a:gd name="connsiteY3" fmla="*/ 557842 h 55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7573" h="557842">
                  <a:moveTo>
                    <a:pt x="0" y="0"/>
                  </a:moveTo>
                  <a:lnTo>
                    <a:pt x="1807573" y="0"/>
                  </a:lnTo>
                  <a:lnTo>
                    <a:pt x="1746765" y="557842"/>
                  </a:lnTo>
                  <a:lnTo>
                    <a:pt x="60808" y="557842"/>
                  </a:lnTo>
                  <a:close/>
                </a:path>
              </a:pathLst>
            </a:custGeom>
            <a:solidFill>
              <a:schemeClr val="accent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000" tIns="0" rIns="108000" bIns="0" rtlCol="0" anchor="ctr"/>
            <a:lstStyle/>
            <a:p>
              <a:pPr lvl="0">
                <a:lnSpc>
                  <a:spcPct val="90000"/>
                </a:lnSpc>
                <a:defRPr/>
              </a:pPr>
              <a:endParaRPr lang="ru-RU" sz="1200" dirty="0">
                <a:solidFill>
                  <a:srgbClr val="FFFFFF"/>
                </a:solidFill>
              </a:endParaRPr>
            </a:p>
          </p:txBody>
        </p: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id="{BC3BAF30-6FA9-E043-B8D8-AED6C40F8391}"/>
                </a:ext>
              </a:extLst>
            </p:cNvPr>
            <p:cNvSpPr/>
            <p:nvPr/>
          </p:nvSpPr>
          <p:spPr>
            <a:xfrm>
              <a:off x="2038144" y="2679988"/>
              <a:ext cx="978922" cy="166199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ru-RU" sz="1200" dirty="0" smtClean="0">
                  <a:solidFill>
                    <a:srgbClr val="FFFFFF"/>
                  </a:solidFill>
                </a:rPr>
                <a:t>1 этап </a:t>
              </a:r>
              <a:r>
                <a:rPr lang="ru-RU" sz="1200" dirty="0" smtClean="0">
                  <a:solidFill>
                    <a:srgbClr val="FFFFFF"/>
                  </a:solidFill>
                </a:rPr>
                <a:t>отбора</a:t>
              </a:r>
              <a:endParaRPr lang="ru-RU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29783A71-9043-6543-AF95-66C173720D5B}"/>
              </a:ext>
            </a:extLst>
          </p:cNvPr>
          <p:cNvGrpSpPr/>
          <p:nvPr/>
        </p:nvGrpSpPr>
        <p:grpSpPr>
          <a:xfrm>
            <a:off x="808907" y="1341437"/>
            <a:ext cx="4543100" cy="828000"/>
            <a:chOff x="808907" y="1341437"/>
            <a:chExt cx="4543100" cy="828000"/>
          </a:xfrm>
        </p:grpSpPr>
        <p:sp>
          <p:nvSpPr>
            <p:cNvPr id="20" name="Freeform 94">
              <a:extLst>
                <a:ext uri="{FF2B5EF4-FFF2-40B4-BE49-F238E27FC236}">
                  <a16:creationId xmlns:a16="http://schemas.microsoft.com/office/drawing/2014/main" id="{E9CB7AE9-6BCC-E647-BAB1-C16C33FD276E}"/>
                </a:ext>
              </a:extLst>
            </p:cNvPr>
            <p:cNvSpPr/>
            <p:nvPr/>
          </p:nvSpPr>
          <p:spPr>
            <a:xfrm>
              <a:off x="808907" y="1341437"/>
              <a:ext cx="4543100" cy="828000"/>
            </a:xfrm>
            <a:custGeom>
              <a:avLst/>
              <a:gdLst>
                <a:gd name="connsiteX0" fmla="*/ 0 w 2003329"/>
                <a:gd name="connsiteY0" fmla="*/ 0 h 557842"/>
                <a:gd name="connsiteX1" fmla="*/ 2003329 w 2003329"/>
                <a:gd name="connsiteY1" fmla="*/ 0 h 557842"/>
                <a:gd name="connsiteX2" fmla="*/ 1942521 w 2003329"/>
                <a:gd name="connsiteY2" fmla="*/ 557842 h 557842"/>
                <a:gd name="connsiteX3" fmla="*/ 60808 w 2003329"/>
                <a:gd name="connsiteY3" fmla="*/ 557842 h 55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03329" h="557842">
                  <a:moveTo>
                    <a:pt x="0" y="0"/>
                  </a:moveTo>
                  <a:lnTo>
                    <a:pt x="2003329" y="0"/>
                  </a:lnTo>
                  <a:lnTo>
                    <a:pt x="1942521" y="557842"/>
                  </a:lnTo>
                  <a:lnTo>
                    <a:pt x="60808" y="55784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000" tIns="0" rIns="108000" bIns="0" rtlCol="0" anchor="ctr"/>
            <a:lstStyle/>
            <a:p>
              <a:pPr lvl="0">
                <a:lnSpc>
                  <a:spcPct val="90000"/>
                </a:lnSpc>
                <a:defRPr/>
              </a:pPr>
              <a:endParaRPr lang="ru-RU" sz="1200" dirty="0">
                <a:solidFill>
                  <a:srgbClr val="FFFFFF"/>
                </a:solidFill>
              </a:endParaRPr>
            </a:p>
          </p:txBody>
        </p:sp>
        <p:sp>
          <p:nvSpPr>
            <p:cNvPr id="46" name="Прямоугольник 45">
              <a:extLst>
                <a:ext uri="{FF2B5EF4-FFF2-40B4-BE49-F238E27FC236}">
                  <a16:creationId xmlns:a16="http://schemas.microsoft.com/office/drawing/2014/main" id="{6F79125D-5B0A-FE4C-80B7-2407B4720354}"/>
                </a:ext>
              </a:extLst>
            </p:cNvPr>
            <p:cNvSpPr/>
            <p:nvPr/>
          </p:nvSpPr>
          <p:spPr>
            <a:xfrm>
              <a:off x="1823032" y="1583070"/>
              <a:ext cx="3075522" cy="332399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ru-RU" sz="1200" dirty="0" smtClean="0">
                  <a:solidFill>
                    <a:srgbClr val="FFFFFF"/>
                  </a:solidFill>
                </a:rPr>
                <a:t>Информационная работа по всех регионах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ru-RU" sz="1200" dirty="0" smtClean="0">
                  <a:solidFill>
                    <a:srgbClr val="FFFFFF"/>
                  </a:solidFill>
                </a:rPr>
                <a:t>присутствия </a:t>
              </a:r>
              <a:r>
                <a:rPr lang="ru-RU" sz="1200" dirty="0" smtClean="0">
                  <a:solidFill>
                    <a:srgbClr val="FFFFFF"/>
                  </a:solidFill>
                </a:rPr>
                <a:t>УГМК</a:t>
              </a:r>
              <a:endParaRPr lang="ru-RU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1A7B263-B42A-F346-A236-165A399141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332399"/>
          </a:xfrm>
        </p:spPr>
        <p:txBody>
          <a:bodyPr vert="horz"/>
          <a:lstStyle/>
          <a:p>
            <a:r>
              <a:rPr lang="ru-RU" dirty="0" smtClean="0"/>
              <a:t>Отбор учеников в Инженерную школу УГМК</a:t>
            </a:r>
            <a:endParaRPr lang="ru-RU" dirty="0"/>
          </a:p>
        </p:txBody>
      </p:sp>
      <p:sp>
        <p:nvSpPr>
          <p:cNvPr id="61" name="Текст 60">
            <a:extLst>
              <a:ext uri="{FF2B5EF4-FFF2-40B4-BE49-F238E27FC236}">
                <a16:creationId xmlns:a16="http://schemas.microsoft.com/office/drawing/2014/main" id="{D96C9166-F116-9642-B5EB-5B02C76732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id="{43F4E19D-3753-3C4A-AE57-8FBF122ECC88}"/>
              </a:ext>
            </a:extLst>
          </p:cNvPr>
          <p:cNvCxnSpPr>
            <a:cxnSpLocks/>
            <a:stCxn id="23" idx="3"/>
            <a:endCxn id="11" idx="0"/>
          </p:cNvCxnSpPr>
          <p:nvPr/>
        </p:nvCxnSpPr>
        <p:spPr>
          <a:xfrm>
            <a:off x="1605586" y="5201015"/>
            <a:ext cx="81971" cy="182526"/>
          </a:xfrm>
          <a:prstGeom prst="straightConnector1">
            <a:avLst/>
          </a:prstGeom>
          <a:ln w="12700">
            <a:solidFill>
              <a:schemeClr val="bg2"/>
            </a:solidFill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ECFC88E3-87CE-7349-B3CA-A4BB84871C5F}"/>
              </a:ext>
            </a:extLst>
          </p:cNvPr>
          <p:cNvCxnSpPr>
            <a:cxnSpLocks/>
            <a:stCxn id="23" idx="2"/>
            <a:endCxn id="11" idx="1"/>
          </p:cNvCxnSpPr>
          <p:nvPr/>
        </p:nvCxnSpPr>
        <p:spPr>
          <a:xfrm flipH="1">
            <a:off x="4473353" y="5201015"/>
            <a:ext cx="81972" cy="182526"/>
          </a:xfrm>
          <a:prstGeom prst="straightConnector1">
            <a:avLst/>
          </a:prstGeom>
          <a:ln w="12700">
            <a:solidFill>
              <a:schemeClr val="bg2"/>
            </a:solidFill>
            <a:prstDash val="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1" name="Группа 80">
            <a:extLst>
              <a:ext uri="{FF2B5EF4-FFF2-40B4-BE49-F238E27FC236}">
                <a16:creationId xmlns:a16="http://schemas.microsoft.com/office/drawing/2014/main" id="{3A878F80-506F-4B7E-8339-1E47F2B9AF28}"/>
              </a:ext>
            </a:extLst>
          </p:cNvPr>
          <p:cNvGrpSpPr/>
          <p:nvPr/>
        </p:nvGrpSpPr>
        <p:grpSpPr>
          <a:xfrm>
            <a:off x="1091972" y="1477958"/>
            <a:ext cx="550800" cy="550800"/>
            <a:chOff x="1091972" y="1477958"/>
            <a:chExt cx="550800" cy="550800"/>
          </a:xfrm>
        </p:grpSpPr>
        <p:sp>
          <p:nvSpPr>
            <p:cNvPr id="82" name="Овал 81">
              <a:extLst>
                <a:ext uri="{FF2B5EF4-FFF2-40B4-BE49-F238E27FC236}">
                  <a16:creationId xmlns:a16="http://schemas.microsoft.com/office/drawing/2014/main" id="{1F64E493-484C-4DA3-B72C-EAC9C558305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91972" y="1477958"/>
              <a:ext cx="550800" cy="550800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83" name="Рисунок 82">
              <a:extLst>
                <a:ext uri="{FF2B5EF4-FFF2-40B4-BE49-F238E27FC236}">
                  <a16:creationId xmlns:a16="http://schemas.microsoft.com/office/drawing/2014/main" id="{7E590DF9-D74D-4FFB-8BCE-2B157BEF056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187372" y="1573358"/>
              <a:ext cx="360000" cy="360000"/>
            </a:xfrm>
            <a:prstGeom prst="rect">
              <a:avLst/>
            </a:prstGeom>
          </p:spPr>
        </p:pic>
      </p:grpSp>
      <p:grpSp>
        <p:nvGrpSpPr>
          <p:cNvPr id="87" name="Группа 86">
            <a:extLst>
              <a:ext uri="{FF2B5EF4-FFF2-40B4-BE49-F238E27FC236}">
                <a16:creationId xmlns:a16="http://schemas.microsoft.com/office/drawing/2014/main" id="{53CD0805-3E6D-46E8-9EA6-95AC1DE9DB29}"/>
              </a:ext>
            </a:extLst>
          </p:cNvPr>
          <p:cNvGrpSpPr/>
          <p:nvPr/>
        </p:nvGrpSpPr>
        <p:grpSpPr>
          <a:xfrm>
            <a:off x="1960654" y="5531729"/>
            <a:ext cx="550305" cy="550305"/>
            <a:chOff x="1960654" y="5531729"/>
            <a:chExt cx="550305" cy="550305"/>
          </a:xfrm>
        </p:grpSpPr>
        <p:sp>
          <p:nvSpPr>
            <p:cNvPr id="88" name="Овал 87">
              <a:extLst>
                <a:ext uri="{FF2B5EF4-FFF2-40B4-BE49-F238E27FC236}">
                  <a16:creationId xmlns:a16="http://schemas.microsoft.com/office/drawing/2014/main" id="{EEBAB07B-5220-4573-869B-3A5FF702C884}"/>
                </a:ext>
              </a:extLst>
            </p:cNvPr>
            <p:cNvSpPr/>
            <p:nvPr/>
          </p:nvSpPr>
          <p:spPr>
            <a:xfrm>
              <a:off x="1960654" y="5531729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89" name="Рисунок 88">
              <a:extLst>
                <a:ext uri="{FF2B5EF4-FFF2-40B4-BE49-F238E27FC236}">
                  <a16:creationId xmlns:a16="http://schemas.microsoft.com/office/drawing/2014/main" id="{3EFF642D-FA13-4C67-B1D0-929FB4DB3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=""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2056506" y="5655884"/>
              <a:ext cx="358600" cy="358600"/>
            </a:xfrm>
            <a:prstGeom prst="rect">
              <a:avLst/>
            </a:prstGeom>
          </p:spPr>
        </p:pic>
      </p:grpSp>
      <p:grpSp>
        <p:nvGrpSpPr>
          <p:cNvPr id="55" name="Группа 54">
            <a:extLst>
              <a:ext uri="{FF2B5EF4-FFF2-40B4-BE49-F238E27FC236}">
                <a16:creationId xmlns:a16="http://schemas.microsoft.com/office/drawing/2014/main" id="{7EAA103A-565C-419B-A1CF-2A70B53A6E22}"/>
              </a:ext>
            </a:extLst>
          </p:cNvPr>
          <p:cNvGrpSpPr/>
          <p:nvPr/>
        </p:nvGrpSpPr>
        <p:grpSpPr>
          <a:xfrm>
            <a:off x="1713403" y="4496006"/>
            <a:ext cx="550305" cy="550305"/>
            <a:chOff x="1729142" y="1804128"/>
            <a:chExt cx="550305" cy="550305"/>
          </a:xfrm>
        </p:grpSpPr>
        <p:sp>
          <p:nvSpPr>
            <p:cNvPr id="57" name="Овал 56">
              <a:extLst>
                <a:ext uri="{FF2B5EF4-FFF2-40B4-BE49-F238E27FC236}">
                  <a16:creationId xmlns:a16="http://schemas.microsoft.com/office/drawing/2014/main" id="{4349A203-B2C6-4616-8108-75934E383119}"/>
                </a:ext>
              </a:extLst>
            </p:cNvPr>
            <p:cNvSpPr/>
            <p:nvPr/>
          </p:nvSpPr>
          <p:spPr>
            <a:xfrm>
              <a:off x="1729142" y="1804128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58" name="Рисунок 45">
              <a:extLst>
                <a:ext uri="{FF2B5EF4-FFF2-40B4-BE49-F238E27FC236}">
                  <a16:creationId xmlns:a16="http://schemas.microsoft.com/office/drawing/2014/main" id="{2A9D4329-92D4-46AF-AC94-1903520C0C90}"/>
                </a:ext>
              </a:extLst>
            </p:cNvPr>
            <p:cNvGrpSpPr/>
            <p:nvPr/>
          </p:nvGrpSpPr>
          <p:grpSpPr>
            <a:xfrm>
              <a:off x="1857837" y="1922874"/>
              <a:ext cx="293100" cy="312720"/>
              <a:chOff x="1857837" y="1922874"/>
              <a:chExt cx="293100" cy="312720"/>
            </a:xfrm>
            <a:solidFill>
              <a:srgbClr val="000000"/>
            </a:solidFill>
          </p:grpSpPr>
          <p:sp>
            <p:nvSpPr>
              <p:cNvPr id="59" name="Рисунок 45">
                <a:extLst>
                  <a:ext uri="{FF2B5EF4-FFF2-40B4-BE49-F238E27FC236}">
                    <a16:creationId xmlns:a16="http://schemas.microsoft.com/office/drawing/2014/main" id="{5807B0DA-B52C-4B8E-9149-EF893D226078}"/>
                  </a:ext>
                </a:extLst>
              </p:cNvPr>
              <p:cNvSpPr/>
              <p:nvPr/>
            </p:nvSpPr>
            <p:spPr>
              <a:xfrm>
                <a:off x="1950586" y="1952263"/>
                <a:ext cx="170627" cy="170666"/>
              </a:xfrm>
              <a:custGeom>
                <a:avLst/>
                <a:gdLst>
                  <a:gd name="connsiteX0" fmla="*/ 142231 w 170627"/>
                  <a:gd name="connsiteY0" fmla="*/ 21756 h 170666"/>
                  <a:gd name="connsiteX1" fmla="*/ 80585 w 170627"/>
                  <a:gd name="connsiteY1" fmla="*/ 134 h 170666"/>
                  <a:gd name="connsiteX2" fmla="*/ 21711 w 170627"/>
                  <a:gd name="connsiteY2" fmla="*/ 28434 h 170666"/>
                  <a:gd name="connsiteX3" fmla="*/ 28396 w 170627"/>
                  <a:gd name="connsiteY3" fmla="*/ 148958 h 170666"/>
                  <a:gd name="connsiteX4" fmla="*/ 85272 w 170627"/>
                  <a:gd name="connsiteY4" fmla="*/ 170666 h 170666"/>
                  <a:gd name="connsiteX5" fmla="*/ 148920 w 170627"/>
                  <a:gd name="connsiteY5" fmla="*/ 142273 h 170666"/>
                  <a:gd name="connsiteX6" fmla="*/ 142231 w 170627"/>
                  <a:gd name="connsiteY6" fmla="*/ 21756 h 170666"/>
                  <a:gd name="connsiteX7" fmla="*/ 140867 w 170627"/>
                  <a:gd name="connsiteY7" fmla="*/ 135077 h 170666"/>
                  <a:gd name="connsiteX8" fmla="*/ 35596 w 170627"/>
                  <a:gd name="connsiteY8" fmla="*/ 140909 h 170666"/>
                  <a:gd name="connsiteX9" fmla="*/ 29753 w 170627"/>
                  <a:gd name="connsiteY9" fmla="*/ 35638 h 170666"/>
                  <a:gd name="connsiteX10" fmla="*/ 81179 w 170627"/>
                  <a:gd name="connsiteY10" fmla="*/ 10916 h 170666"/>
                  <a:gd name="connsiteX11" fmla="*/ 85402 w 170627"/>
                  <a:gd name="connsiteY11" fmla="*/ 10801 h 170666"/>
                  <a:gd name="connsiteX12" fmla="*/ 135028 w 170627"/>
                  <a:gd name="connsiteY12" fmla="*/ 29802 h 170666"/>
                  <a:gd name="connsiteX13" fmla="*/ 140867 w 170627"/>
                  <a:gd name="connsiteY13" fmla="*/ 135077 h 170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0627" h="170666">
                    <a:moveTo>
                      <a:pt x="142231" y="21756"/>
                    </a:moveTo>
                    <a:cubicBezTo>
                      <a:pt x="125236" y="6550"/>
                      <a:pt x="103308" y="-1129"/>
                      <a:pt x="80585" y="134"/>
                    </a:cubicBezTo>
                    <a:cubicBezTo>
                      <a:pt x="57822" y="1398"/>
                      <a:pt x="36913" y="11449"/>
                      <a:pt x="21711" y="28434"/>
                    </a:cubicBezTo>
                    <a:cubicBezTo>
                      <a:pt x="-9674" y="63505"/>
                      <a:pt x="-6675" y="117574"/>
                      <a:pt x="28396" y="148958"/>
                    </a:cubicBezTo>
                    <a:cubicBezTo>
                      <a:pt x="44661" y="163510"/>
                      <a:pt x="64997" y="170666"/>
                      <a:pt x="85272" y="170666"/>
                    </a:cubicBezTo>
                    <a:cubicBezTo>
                      <a:pt x="108726" y="170666"/>
                      <a:pt x="132087" y="161083"/>
                      <a:pt x="148920" y="142273"/>
                    </a:cubicBezTo>
                    <a:cubicBezTo>
                      <a:pt x="180301" y="107209"/>
                      <a:pt x="177303" y="53141"/>
                      <a:pt x="142231" y="21756"/>
                    </a:cubicBezTo>
                    <a:close/>
                    <a:moveTo>
                      <a:pt x="140867" y="135077"/>
                    </a:moveTo>
                    <a:cubicBezTo>
                      <a:pt x="113460" y="165709"/>
                      <a:pt x="66232" y="168330"/>
                      <a:pt x="35596" y="140909"/>
                    </a:cubicBezTo>
                    <a:cubicBezTo>
                      <a:pt x="4960" y="113495"/>
                      <a:pt x="2343" y="66270"/>
                      <a:pt x="29753" y="35638"/>
                    </a:cubicBezTo>
                    <a:cubicBezTo>
                      <a:pt x="43033" y="20798"/>
                      <a:pt x="61300" y="12018"/>
                      <a:pt x="81179" y="10916"/>
                    </a:cubicBezTo>
                    <a:cubicBezTo>
                      <a:pt x="82594" y="10841"/>
                      <a:pt x="83998" y="10801"/>
                      <a:pt x="85402" y="10801"/>
                    </a:cubicBezTo>
                    <a:cubicBezTo>
                      <a:pt x="103758" y="10801"/>
                      <a:pt x="121240" y="17465"/>
                      <a:pt x="135028" y="29802"/>
                    </a:cubicBezTo>
                    <a:cubicBezTo>
                      <a:pt x="165664" y="57220"/>
                      <a:pt x="168281" y="104444"/>
                      <a:pt x="140867" y="135077"/>
                    </a:cubicBezTo>
                    <a:close/>
                  </a:path>
                </a:pathLst>
              </a:custGeom>
              <a:solidFill>
                <a:srgbClr val="00000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" name="Рисунок 45">
                <a:extLst>
                  <a:ext uri="{FF2B5EF4-FFF2-40B4-BE49-F238E27FC236}">
                    <a16:creationId xmlns:a16="http://schemas.microsoft.com/office/drawing/2014/main" id="{2CD888AB-114E-4839-B737-D2C86C70EB7F}"/>
                  </a:ext>
                </a:extLst>
              </p:cNvPr>
              <p:cNvSpPr/>
              <p:nvPr/>
            </p:nvSpPr>
            <p:spPr>
              <a:xfrm>
                <a:off x="1988556" y="1975720"/>
                <a:ext cx="90627" cy="29604"/>
              </a:xfrm>
              <a:custGeom>
                <a:avLst/>
                <a:gdLst>
                  <a:gd name="connsiteX0" fmla="*/ 1377 w 90627"/>
                  <a:gd name="connsiteY0" fmla="*/ 20604 h 29604"/>
                  <a:gd name="connsiteX1" fmla="*/ 1798 w 90627"/>
                  <a:gd name="connsiteY1" fmla="*/ 28229 h 29604"/>
                  <a:gd name="connsiteX2" fmla="*/ 5398 w 90627"/>
                  <a:gd name="connsiteY2" fmla="*/ 29604 h 29604"/>
                  <a:gd name="connsiteX3" fmla="*/ 9423 w 90627"/>
                  <a:gd name="connsiteY3" fmla="*/ 27804 h 29604"/>
                  <a:gd name="connsiteX4" fmla="*/ 81628 w 90627"/>
                  <a:gd name="connsiteY4" fmla="*/ 23798 h 29604"/>
                  <a:gd name="connsiteX5" fmla="*/ 89253 w 90627"/>
                  <a:gd name="connsiteY5" fmla="*/ 23376 h 29604"/>
                  <a:gd name="connsiteX6" fmla="*/ 88828 w 90627"/>
                  <a:gd name="connsiteY6" fmla="*/ 15752 h 29604"/>
                  <a:gd name="connsiteX7" fmla="*/ 1377 w 90627"/>
                  <a:gd name="connsiteY7" fmla="*/ 20604 h 29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0627" h="29604">
                    <a:moveTo>
                      <a:pt x="1377" y="20604"/>
                    </a:moveTo>
                    <a:cubicBezTo>
                      <a:pt x="-614" y="22829"/>
                      <a:pt x="-423" y="26242"/>
                      <a:pt x="1798" y="28229"/>
                    </a:cubicBezTo>
                    <a:cubicBezTo>
                      <a:pt x="2832" y="29151"/>
                      <a:pt x="4117" y="29604"/>
                      <a:pt x="5398" y="29604"/>
                    </a:cubicBezTo>
                    <a:cubicBezTo>
                      <a:pt x="6882" y="29604"/>
                      <a:pt x="8358" y="29000"/>
                      <a:pt x="9423" y="27804"/>
                    </a:cubicBezTo>
                    <a:cubicBezTo>
                      <a:pt x="28230" y="6791"/>
                      <a:pt x="60615" y="4998"/>
                      <a:pt x="81628" y="23798"/>
                    </a:cubicBezTo>
                    <a:cubicBezTo>
                      <a:pt x="83850" y="25788"/>
                      <a:pt x="87259" y="25598"/>
                      <a:pt x="89253" y="23376"/>
                    </a:cubicBezTo>
                    <a:cubicBezTo>
                      <a:pt x="91240" y="21152"/>
                      <a:pt x="91050" y="17739"/>
                      <a:pt x="88828" y="15752"/>
                    </a:cubicBezTo>
                    <a:cubicBezTo>
                      <a:pt x="63376" y="-7022"/>
                      <a:pt x="24147" y="-4840"/>
                      <a:pt x="1377" y="20604"/>
                    </a:cubicBezTo>
                    <a:close/>
                  </a:path>
                </a:pathLst>
              </a:custGeom>
              <a:solidFill>
                <a:srgbClr val="00000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Рисунок 45">
                <a:extLst>
                  <a:ext uri="{FF2B5EF4-FFF2-40B4-BE49-F238E27FC236}">
                    <a16:creationId xmlns:a16="http://schemas.microsoft.com/office/drawing/2014/main" id="{238F6772-3465-44C3-87ED-0391F0C3B1D2}"/>
                  </a:ext>
                </a:extLst>
              </p:cNvPr>
              <p:cNvSpPr/>
              <p:nvPr/>
            </p:nvSpPr>
            <p:spPr>
              <a:xfrm>
                <a:off x="1857837" y="1922874"/>
                <a:ext cx="293100" cy="312720"/>
              </a:xfrm>
              <a:custGeom>
                <a:avLst/>
                <a:gdLst>
                  <a:gd name="connsiteX0" fmla="*/ 292890 w 293100"/>
                  <a:gd name="connsiteY0" fmla="*/ 107791 h 312720"/>
                  <a:gd name="connsiteX1" fmla="*/ 254521 w 293100"/>
                  <a:gd name="connsiteY1" fmla="*/ 28875 h 312720"/>
                  <a:gd name="connsiteX2" fmla="*/ 171584 w 293100"/>
                  <a:gd name="connsiteY2" fmla="*/ 205 h 312720"/>
                  <a:gd name="connsiteX3" fmla="*/ 92672 w 293100"/>
                  <a:gd name="connsiteY3" fmla="*/ 38574 h 312720"/>
                  <a:gd name="connsiteX4" fmla="*/ 98378 w 293100"/>
                  <a:gd name="connsiteY4" fmla="*/ 196696 h 312720"/>
                  <a:gd name="connsiteX5" fmla="*/ 79756 w 293100"/>
                  <a:gd name="connsiteY5" fmla="*/ 217944 h 312720"/>
                  <a:gd name="connsiteX6" fmla="*/ 73783 w 293100"/>
                  <a:gd name="connsiteY6" fmla="*/ 212648 h 312720"/>
                  <a:gd name="connsiteX7" fmla="*/ 66176 w 293100"/>
                  <a:gd name="connsiteY7" fmla="*/ 213087 h 312720"/>
                  <a:gd name="connsiteX8" fmla="*/ 1376 w 293100"/>
                  <a:gd name="connsiteY8" fmla="*/ 285501 h 312720"/>
                  <a:gd name="connsiteX9" fmla="*/ 8 w 293100"/>
                  <a:gd name="connsiteY9" fmla="*/ 289400 h 312720"/>
                  <a:gd name="connsiteX10" fmla="*/ 1798 w 293100"/>
                  <a:gd name="connsiteY10" fmla="*/ 293126 h 312720"/>
                  <a:gd name="connsiteX11" fmla="*/ 22156 w 293100"/>
                  <a:gd name="connsiteY11" fmla="*/ 311346 h 312720"/>
                  <a:gd name="connsiteX12" fmla="*/ 25756 w 293100"/>
                  <a:gd name="connsiteY12" fmla="*/ 312721 h 312720"/>
                  <a:gd name="connsiteX13" fmla="*/ 29780 w 293100"/>
                  <a:gd name="connsiteY13" fmla="*/ 310921 h 312720"/>
                  <a:gd name="connsiteX14" fmla="*/ 94667 w 293100"/>
                  <a:gd name="connsiteY14" fmla="*/ 238413 h 312720"/>
                  <a:gd name="connsiteX15" fmla="*/ 96035 w 293100"/>
                  <a:gd name="connsiteY15" fmla="*/ 234500 h 312720"/>
                  <a:gd name="connsiteX16" fmla="*/ 94228 w 293100"/>
                  <a:gd name="connsiteY16" fmla="*/ 230774 h 312720"/>
                  <a:gd name="connsiteX17" fmla="*/ 87838 w 293100"/>
                  <a:gd name="connsiteY17" fmla="*/ 225108 h 312720"/>
                  <a:gd name="connsiteX18" fmla="*/ 106450 w 293100"/>
                  <a:gd name="connsiteY18" fmla="*/ 203875 h 312720"/>
                  <a:gd name="connsiteX19" fmla="*/ 178291 w 293100"/>
                  <a:gd name="connsiteY19" fmla="*/ 229305 h 312720"/>
                  <a:gd name="connsiteX20" fmla="*/ 185308 w 293100"/>
                  <a:gd name="connsiteY20" fmla="*/ 229093 h 312720"/>
                  <a:gd name="connsiteX21" fmla="*/ 264223 w 293100"/>
                  <a:gd name="connsiteY21" fmla="*/ 190720 h 312720"/>
                  <a:gd name="connsiteX22" fmla="*/ 292890 w 293100"/>
                  <a:gd name="connsiteY22" fmla="*/ 107791 h 312720"/>
                  <a:gd name="connsiteX23" fmla="*/ 25334 w 293100"/>
                  <a:gd name="connsiteY23" fmla="*/ 299696 h 312720"/>
                  <a:gd name="connsiteX24" fmla="*/ 13026 w 293100"/>
                  <a:gd name="connsiteY24" fmla="*/ 288680 h 312720"/>
                  <a:gd name="connsiteX25" fmla="*/ 70640 w 293100"/>
                  <a:gd name="connsiteY25" fmla="*/ 224298 h 312720"/>
                  <a:gd name="connsiteX26" fmla="*/ 83003 w 293100"/>
                  <a:gd name="connsiteY26" fmla="*/ 235260 h 312720"/>
                  <a:gd name="connsiteX27" fmla="*/ 25334 w 293100"/>
                  <a:gd name="connsiteY27" fmla="*/ 299696 h 312720"/>
                  <a:gd name="connsiteX28" fmla="*/ 256141 w 293100"/>
                  <a:gd name="connsiteY28" fmla="*/ 183556 h 312720"/>
                  <a:gd name="connsiteX29" fmla="*/ 184660 w 293100"/>
                  <a:gd name="connsiteY29" fmla="*/ 218311 h 312720"/>
                  <a:gd name="connsiteX30" fmla="*/ 109538 w 293100"/>
                  <a:gd name="connsiteY30" fmla="*/ 192344 h 312720"/>
                  <a:gd name="connsiteX31" fmla="*/ 100754 w 293100"/>
                  <a:gd name="connsiteY31" fmla="*/ 45738 h 312720"/>
                  <a:gd name="connsiteX32" fmla="*/ 172236 w 293100"/>
                  <a:gd name="connsiteY32" fmla="*/ 10983 h 312720"/>
                  <a:gd name="connsiteX33" fmla="*/ 178590 w 293100"/>
                  <a:gd name="connsiteY33" fmla="*/ 10792 h 312720"/>
                  <a:gd name="connsiteX34" fmla="*/ 247361 w 293100"/>
                  <a:gd name="connsiteY34" fmla="*/ 36954 h 312720"/>
                  <a:gd name="connsiteX35" fmla="*/ 282115 w 293100"/>
                  <a:gd name="connsiteY35" fmla="*/ 108435 h 312720"/>
                  <a:gd name="connsiteX36" fmla="*/ 256141 w 293100"/>
                  <a:gd name="connsiteY36" fmla="*/ 183556 h 312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93100" h="312720">
                    <a:moveTo>
                      <a:pt x="292890" y="107791"/>
                    </a:moveTo>
                    <a:cubicBezTo>
                      <a:pt x="291058" y="77220"/>
                      <a:pt x="277432" y="49197"/>
                      <a:pt x="254521" y="28875"/>
                    </a:cubicBezTo>
                    <a:cubicBezTo>
                      <a:pt x="231611" y="8553"/>
                      <a:pt x="202184" y="-1599"/>
                      <a:pt x="171584" y="205"/>
                    </a:cubicBezTo>
                    <a:cubicBezTo>
                      <a:pt x="141017" y="2037"/>
                      <a:pt x="112991" y="15663"/>
                      <a:pt x="92672" y="38574"/>
                    </a:cubicBezTo>
                    <a:cubicBezTo>
                      <a:pt x="51938" y="84499"/>
                      <a:pt x="54869" y="154285"/>
                      <a:pt x="98378" y="196696"/>
                    </a:cubicBezTo>
                    <a:lnTo>
                      <a:pt x="79756" y="217944"/>
                    </a:lnTo>
                    <a:lnTo>
                      <a:pt x="73783" y="212648"/>
                    </a:lnTo>
                    <a:cubicBezTo>
                      <a:pt x="71555" y="210668"/>
                      <a:pt x="68156" y="210870"/>
                      <a:pt x="66176" y="213087"/>
                    </a:cubicBezTo>
                    <a:lnTo>
                      <a:pt x="1376" y="285501"/>
                    </a:lnTo>
                    <a:cubicBezTo>
                      <a:pt x="419" y="286567"/>
                      <a:pt x="-71" y="287971"/>
                      <a:pt x="8" y="289400"/>
                    </a:cubicBezTo>
                    <a:cubicBezTo>
                      <a:pt x="88" y="290829"/>
                      <a:pt x="732" y="292172"/>
                      <a:pt x="1798" y="293126"/>
                    </a:cubicBezTo>
                    <a:lnTo>
                      <a:pt x="22156" y="311346"/>
                    </a:lnTo>
                    <a:cubicBezTo>
                      <a:pt x="23189" y="312267"/>
                      <a:pt x="24474" y="312721"/>
                      <a:pt x="25756" y="312721"/>
                    </a:cubicBezTo>
                    <a:cubicBezTo>
                      <a:pt x="27239" y="312721"/>
                      <a:pt x="28715" y="312112"/>
                      <a:pt x="29780" y="310921"/>
                    </a:cubicBezTo>
                    <a:lnTo>
                      <a:pt x="94667" y="238413"/>
                    </a:lnTo>
                    <a:cubicBezTo>
                      <a:pt x="95624" y="237344"/>
                      <a:pt x="96118" y="235936"/>
                      <a:pt x="96035" y="234500"/>
                    </a:cubicBezTo>
                    <a:cubicBezTo>
                      <a:pt x="95952" y="233071"/>
                      <a:pt x="95300" y="231724"/>
                      <a:pt x="94228" y="230774"/>
                    </a:cubicBezTo>
                    <a:lnTo>
                      <a:pt x="87838" y="225108"/>
                    </a:lnTo>
                    <a:lnTo>
                      <a:pt x="106450" y="203875"/>
                    </a:lnTo>
                    <a:cubicBezTo>
                      <a:pt x="126908" y="220424"/>
                      <a:pt x="152026" y="229305"/>
                      <a:pt x="178291" y="229305"/>
                    </a:cubicBezTo>
                    <a:cubicBezTo>
                      <a:pt x="180620" y="229305"/>
                      <a:pt x="182964" y="229233"/>
                      <a:pt x="185308" y="229093"/>
                    </a:cubicBezTo>
                    <a:cubicBezTo>
                      <a:pt x="215875" y="227257"/>
                      <a:pt x="243901" y="213631"/>
                      <a:pt x="264223" y="190720"/>
                    </a:cubicBezTo>
                    <a:cubicBezTo>
                      <a:pt x="284545" y="167810"/>
                      <a:pt x="294722" y="138362"/>
                      <a:pt x="292890" y="107791"/>
                    </a:cubicBezTo>
                    <a:close/>
                    <a:moveTo>
                      <a:pt x="25334" y="299696"/>
                    </a:moveTo>
                    <a:lnTo>
                      <a:pt x="13026" y="288680"/>
                    </a:lnTo>
                    <a:lnTo>
                      <a:pt x="70640" y="224298"/>
                    </a:lnTo>
                    <a:lnTo>
                      <a:pt x="83003" y="235260"/>
                    </a:lnTo>
                    <a:lnTo>
                      <a:pt x="25334" y="299696"/>
                    </a:lnTo>
                    <a:close/>
                    <a:moveTo>
                      <a:pt x="256141" y="183556"/>
                    </a:moveTo>
                    <a:cubicBezTo>
                      <a:pt x="237734" y="204310"/>
                      <a:pt x="212347" y="216651"/>
                      <a:pt x="184660" y="218311"/>
                    </a:cubicBezTo>
                    <a:cubicBezTo>
                      <a:pt x="156976" y="220017"/>
                      <a:pt x="130292" y="210747"/>
                      <a:pt x="109538" y="192344"/>
                    </a:cubicBezTo>
                    <a:cubicBezTo>
                      <a:pt x="66698" y="154346"/>
                      <a:pt x="62756" y="88578"/>
                      <a:pt x="100754" y="45738"/>
                    </a:cubicBezTo>
                    <a:cubicBezTo>
                      <a:pt x="119161" y="24984"/>
                      <a:pt x="144548" y="12643"/>
                      <a:pt x="172236" y="10983"/>
                    </a:cubicBezTo>
                    <a:cubicBezTo>
                      <a:pt x="174360" y="10854"/>
                      <a:pt x="176477" y="10792"/>
                      <a:pt x="178590" y="10792"/>
                    </a:cubicBezTo>
                    <a:cubicBezTo>
                      <a:pt x="203984" y="10792"/>
                      <a:pt x="228198" y="19958"/>
                      <a:pt x="247361" y="36954"/>
                    </a:cubicBezTo>
                    <a:cubicBezTo>
                      <a:pt x="268115" y="55360"/>
                      <a:pt x="280456" y="80748"/>
                      <a:pt x="282115" y="108435"/>
                    </a:cubicBezTo>
                    <a:cubicBezTo>
                      <a:pt x="283771" y="136126"/>
                      <a:pt x="274544" y="162806"/>
                      <a:pt x="256141" y="1835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63" name="Группа 62">
            <a:extLst>
              <a:ext uri="{FF2B5EF4-FFF2-40B4-BE49-F238E27FC236}">
                <a16:creationId xmlns:a16="http://schemas.microsoft.com/office/drawing/2014/main" id="{B84F5952-6316-411B-8DAB-B631E9329D39}"/>
              </a:ext>
            </a:extLst>
          </p:cNvPr>
          <p:cNvGrpSpPr/>
          <p:nvPr/>
        </p:nvGrpSpPr>
        <p:grpSpPr>
          <a:xfrm>
            <a:off x="1478514" y="3484184"/>
            <a:ext cx="550305" cy="550305"/>
            <a:chOff x="818055" y="3942146"/>
            <a:chExt cx="550305" cy="550305"/>
          </a:xfrm>
        </p:grpSpPr>
        <p:sp>
          <p:nvSpPr>
            <p:cNvPr id="64" name="Овал 63">
              <a:extLst>
                <a:ext uri="{FF2B5EF4-FFF2-40B4-BE49-F238E27FC236}">
                  <a16:creationId xmlns:a16="http://schemas.microsoft.com/office/drawing/2014/main" id="{F2AD6C9B-AC44-4A71-9BFF-DBB3FFD6E688}"/>
                </a:ext>
              </a:extLst>
            </p:cNvPr>
            <p:cNvSpPr/>
            <p:nvPr/>
          </p:nvSpPr>
          <p:spPr>
            <a:xfrm>
              <a:off x="818055" y="3942146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69" name="Рисунок 66">
              <a:extLst>
                <a:ext uri="{FF2B5EF4-FFF2-40B4-BE49-F238E27FC236}">
                  <a16:creationId xmlns:a16="http://schemas.microsoft.com/office/drawing/2014/main" id="{FBDC11E6-AA2A-4F51-B5B7-C0F124E51221}"/>
                </a:ext>
              </a:extLst>
            </p:cNvPr>
            <p:cNvGrpSpPr/>
            <p:nvPr/>
          </p:nvGrpSpPr>
          <p:grpSpPr>
            <a:xfrm>
              <a:off x="928426" y="4116355"/>
              <a:ext cx="326006" cy="200227"/>
              <a:chOff x="928426" y="4116355"/>
              <a:chExt cx="326006" cy="200227"/>
            </a:xfrm>
            <a:solidFill>
              <a:srgbClr val="000000"/>
            </a:solidFill>
          </p:grpSpPr>
          <p:sp>
            <p:nvSpPr>
              <p:cNvPr id="70" name="Рисунок 66">
                <a:extLst>
                  <a:ext uri="{FF2B5EF4-FFF2-40B4-BE49-F238E27FC236}">
                    <a16:creationId xmlns:a16="http://schemas.microsoft.com/office/drawing/2014/main" id="{7B2FA1AD-035F-42E0-9376-6226812D3195}"/>
                  </a:ext>
                </a:extLst>
              </p:cNvPr>
              <p:cNvSpPr/>
              <p:nvPr/>
            </p:nvSpPr>
            <p:spPr>
              <a:xfrm>
                <a:off x="928426" y="4116355"/>
                <a:ext cx="326006" cy="200227"/>
              </a:xfrm>
              <a:custGeom>
                <a:avLst/>
                <a:gdLst>
                  <a:gd name="connsiteX0" fmla="*/ 320657 w 326006"/>
                  <a:gd name="connsiteY0" fmla="*/ 103438 h 200227"/>
                  <a:gd name="connsiteX1" fmla="*/ 220901 w 326006"/>
                  <a:gd name="connsiteY1" fmla="*/ 103438 h 200227"/>
                  <a:gd name="connsiteX2" fmla="*/ 220901 w 326006"/>
                  <a:gd name="connsiteY2" fmla="*/ 5347 h 200227"/>
                  <a:gd name="connsiteX3" fmla="*/ 215554 w 326006"/>
                  <a:gd name="connsiteY3" fmla="*/ 0 h 200227"/>
                  <a:gd name="connsiteX4" fmla="*/ 110449 w 326006"/>
                  <a:gd name="connsiteY4" fmla="*/ 0 h 200227"/>
                  <a:gd name="connsiteX5" fmla="*/ 105102 w 326006"/>
                  <a:gd name="connsiteY5" fmla="*/ 5347 h 200227"/>
                  <a:gd name="connsiteX6" fmla="*/ 105102 w 326006"/>
                  <a:gd name="connsiteY6" fmla="*/ 63178 h 200227"/>
                  <a:gd name="connsiteX7" fmla="*/ 5347 w 326006"/>
                  <a:gd name="connsiteY7" fmla="*/ 63178 h 200227"/>
                  <a:gd name="connsiteX8" fmla="*/ 0 w 326006"/>
                  <a:gd name="connsiteY8" fmla="*/ 68525 h 200227"/>
                  <a:gd name="connsiteX9" fmla="*/ 0 w 326006"/>
                  <a:gd name="connsiteY9" fmla="*/ 194881 h 200227"/>
                  <a:gd name="connsiteX10" fmla="*/ 5347 w 326006"/>
                  <a:gd name="connsiteY10" fmla="*/ 200228 h 200227"/>
                  <a:gd name="connsiteX11" fmla="*/ 320660 w 326006"/>
                  <a:gd name="connsiteY11" fmla="*/ 200228 h 200227"/>
                  <a:gd name="connsiteX12" fmla="*/ 326007 w 326006"/>
                  <a:gd name="connsiteY12" fmla="*/ 194881 h 200227"/>
                  <a:gd name="connsiteX13" fmla="*/ 326007 w 326006"/>
                  <a:gd name="connsiteY13" fmla="*/ 108784 h 200227"/>
                  <a:gd name="connsiteX14" fmla="*/ 320657 w 326006"/>
                  <a:gd name="connsiteY14" fmla="*/ 103438 h 200227"/>
                  <a:gd name="connsiteX15" fmla="*/ 315310 w 326006"/>
                  <a:gd name="connsiteY15" fmla="*/ 189535 h 200227"/>
                  <a:gd name="connsiteX16" fmla="*/ 10690 w 326006"/>
                  <a:gd name="connsiteY16" fmla="*/ 189535 h 200227"/>
                  <a:gd name="connsiteX17" fmla="*/ 10690 w 326006"/>
                  <a:gd name="connsiteY17" fmla="*/ 73871 h 200227"/>
                  <a:gd name="connsiteX18" fmla="*/ 110445 w 326006"/>
                  <a:gd name="connsiteY18" fmla="*/ 73871 h 200227"/>
                  <a:gd name="connsiteX19" fmla="*/ 115792 w 326006"/>
                  <a:gd name="connsiteY19" fmla="*/ 68525 h 200227"/>
                  <a:gd name="connsiteX20" fmla="*/ 115792 w 326006"/>
                  <a:gd name="connsiteY20" fmla="*/ 10693 h 200227"/>
                  <a:gd name="connsiteX21" fmla="*/ 210204 w 326006"/>
                  <a:gd name="connsiteY21" fmla="*/ 10693 h 200227"/>
                  <a:gd name="connsiteX22" fmla="*/ 210204 w 326006"/>
                  <a:gd name="connsiteY22" fmla="*/ 108784 h 200227"/>
                  <a:gd name="connsiteX23" fmla="*/ 215551 w 326006"/>
                  <a:gd name="connsiteY23" fmla="*/ 114131 h 200227"/>
                  <a:gd name="connsiteX24" fmla="*/ 315307 w 326006"/>
                  <a:gd name="connsiteY24" fmla="*/ 114131 h 200227"/>
                  <a:gd name="connsiteX25" fmla="*/ 315307 w 326006"/>
                  <a:gd name="connsiteY25" fmla="*/ 189535 h 200227"/>
                  <a:gd name="connsiteX26" fmla="*/ 315310 w 326006"/>
                  <a:gd name="connsiteY26" fmla="*/ 189535 h 20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326006" h="200227">
                    <a:moveTo>
                      <a:pt x="320657" y="103438"/>
                    </a:moveTo>
                    <a:lnTo>
                      <a:pt x="220901" y="103438"/>
                    </a:lnTo>
                    <a:lnTo>
                      <a:pt x="220901" y="5347"/>
                    </a:lnTo>
                    <a:cubicBezTo>
                      <a:pt x="220901" y="2392"/>
                      <a:pt x="218506" y="0"/>
                      <a:pt x="215554" y="0"/>
                    </a:cubicBezTo>
                    <a:lnTo>
                      <a:pt x="110449" y="0"/>
                    </a:lnTo>
                    <a:cubicBezTo>
                      <a:pt x="107497" y="0"/>
                      <a:pt x="105102" y="2392"/>
                      <a:pt x="105102" y="5347"/>
                    </a:cubicBezTo>
                    <a:lnTo>
                      <a:pt x="105102" y="63178"/>
                    </a:lnTo>
                    <a:lnTo>
                      <a:pt x="5347" y="63178"/>
                    </a:lnTo>
                    <a:cubicBezTo>
                      <a:pt x="2395" y="63178"/>
                      <a:pt x="0" y="65570"/>
                      <a:pt x="0" y="68525"/>
                    </a:cubicBezTo>
                    <a:lnTo>
                      <a:pt x="0" y="194881"/>
                    </a:lnTo>
                    <a:cubicBezTo>
                      <a:pt x="0" y="197832"/>
                      <a:pt x="2395" y="200228"/>
                      <a:pt x="5347" y="200228"/>
                    </a:cubicBezTo>
                    <a:lnTo>
                      <a:pt x="320660" y="200228"/>
                    </a:lnTo>
                    <a:cubicBezTo>
                      <a:pt x="323611" y="200228"/>
                      <a:pt x="326007" y="197832"/>
                      <a:pt x="326007" y="194881"/>
                    </a:cubicBezTo>
                    <a:lnTo>
                      <a:pt x="326007" y="108784"/>
                    </a:lnTo>
                    <a:cubicBezTo>
                      <a:pt x="326003" y="105833"/>
                      <a:pt x="323608" y="103438"/>
                      <a:pt x="320657" y="103438"/>
                    </a:cubicBezTo>
                    <a:close/>
                    <a:moveTo>
                      <a:pt x="315310" y="189535"/>
                    </a:moveTo>
                    <a:lnTo>
                      <a:pt x="10690" y="189535"/>
                    </a:lnTo>
                    <a:lnTo>
                      <a:pt x="10690" y="73871"/>
                    </a:lnTo>
                    <a:lnTo>
                      <a:pt x="110445" y="73871"/>
                    </a:lnTo>
                    <a:cubicBezTo>
                      <a:pt x="113396" y="73871"/>
                      <a:pt x="115792" y="71480"/>
                      <a:pt x="115792" y="68525"/>
                    </a:cubicBezTo>
                    <a:lnTo>
                      <a:pt x="115792" y="10693"/>
                    </a:lnTo>
                    <a:lnTo>
                      <a:pt x="210204" y="10693"/>
                    </a:lnTo>
                    <a:lnTo>
                      <a:pt x="210204" y="108784"/>
                    </a:lnTo>
                    <a:cubicBezTo>
                      <a:pt x="210204" y="111739"/>
                      <a:pt x="212600" y="114131"/>
                      <a:pt x="215551" y="114131"/>
                    </a:cubicBezTo>
                    <a:lnTo>
                      <a:pt x="315307" y="114131"/>
                    </a:lnTo>
                    <a:lnTo>
                      <a:pt x="315307" y="189535"/>
                    </a:lnTo>
                    <a:lnTo>
                      <a:pt x="315310" y="189535"/>
                    </a:ln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Рисунок 66">
                <a:extLst>
                  <a:ext uri="{FF2B5EF4-FFF2-40B4-BE49-F238E27FC236}">
                    <a16:creationId xmlns:a16="http://schemas.microsoft.com/office/drawing/2014/main" id="{4617668E-8498-483C-9E73-6CBE6ACAF0E9}"/>
                  </a:ext>
                </a:extLst>
              </p:cNvPr>
              <p:cNvSpPr/>
              <p:nvPr/>
            </p:nvSpPr>
            <p:spPr>
              <a:xfrm>
                <a:off x="976114" y="4213694"/>
                <a:ext cx="16773" cy="16773"/>
              </a:xfrm>
              <a:custGeom>
                <a:avLst/>
                <a:gdLst>
                  <a:gd name="connsiteX0" fmla="*/ 16774 w 16773"/>
                  <a:gd name="connsiteY0" fmla="*/ 8387 h 16773"/>
                  <a:gd name="connsiteX1" fmla="*/ 8387 w 16773"/>
                  <a:gd name="connsiteY1" fmla="*/ 16774 h 16773"/>
                  <a:gd name="connsiteX2" fmla="*/ 0 w 16773"/>
                  <a:gd name="connsiteY2" fmla="*/ 8387 h 16773"/>
                  <a:gd name="connsiteX3" fmla="*/ 8387 w 16773"/>
                  <a:gd name="connsiteY3" fmla="*/ 0 h 16773"/>
                  <a:gd name="connsiteX4" fmla="*/ 16774 w 16773"/>
                  <a:gd name="connsiteY4" fmla="*/ 8387 h 16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773" h="16773">
                    <a:moveTo>
                      <a:pt x="16774" y="8387"/>
                    </a:moveTo>
                    <a:cubicBezTo>
                      <a:pt x="16774" y="13019"/>
                      <a:pt x="13019" y="16774"/>
                      <a:pt x="8387" y="16774"/>
                    </a:cubicBezTo>
                    <a:cubicBezTo>
                      <a:pt x="3755" y="16774"/>
                      <a:pt x="0" y="13019"/>
                      <a:pt x="0" y="8387"/>
                    </a:cubicBezTo>
                    <a:cubicBezTo>
                      <a:pt x="0" y="3755"/>
                      <a:pt x="3755" y="0"/>
                      <a:pt x="8387" y="0"/>
                    </a:cubicBezTo>
                    <a:cubicBezTo>
                      <a:pt x="13019" y="0"/>
                      <a:pt x="16774" y="3755"/>
                      <a:pt x="16774" y="8387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Рисунок 66">
                <a:extLst>
                  <a:ext uri="{FF2B5EF4-FFF2-40B4-BE49-F238E27FC236}">
                    <a16:creationId xmlns:a16="http://schemas.microsoft.com/office/drawing/2014/main" id="{9C102F2B-1276-4529-9EA3-88FBB478DE1E}"/>
                  </a:ext>
                </a:extLst>
              </p:cNvPr>
              <p:cNvSpPr/>
              <p:nvPr/>
            </p:nvSpPr>
            <p:spPr>
              <a:xfrm>
                <a:off x="1083037" y="4149981"/>
                <a:ext cx="16773" cy="16773"/>
              </a:xfrm>
              <a:custGeom>
                <a:avLst/>
                <a:gdLst>
                  <a:gd name="connsiteX0" fmla="*/ 16774 w 16773"/>
                  <a:gd name="connsiteY0" fmla="*/ 8387 h 16773"/>
                  <a:gd name="connsiteX1" fmla="*/ 8387 w 16773"/>
                  <a:gd name="connsiteY1" fmla="*/ 16774 h 16773"/>
                  <a:gd name="connsiteX2" fmla="*/ 0 w 16773"/>
                  <a:gd name="connsiteY2" fmla="*/ 8387 h 16773"/>
                  <a:gd name="connsiteX3" fmla="*/ 8387 w 16773"/>
                  <a:gd name="connsiteY3" fmla="*/ 0 h 16773"/>
                  <a:gd name="connsiteX4" fmla="*/ 16774 w 16773"/>
                  <a:gd name="connsiteY4" fmla="*/ 8387 h 16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773" h="16773">
                    <a:moveTo>
                      <a:pt x="16774" y="8387"/>
                    </a:moveTo>
                    <a:cubicBezTo>
                      <a:pt x="16774" y="13019"/>
                      <a:pt x="13019" y="16774"/>
                      <a:pt x="8387" y="16774"/>
                    </a:cubicBezTo>
                    <a:cubicBezTo>
                      <a:pt x="3755" y="16774"/>
                      <a:pt x="0" y="13019"/>
                      <a:pt x="0" y="8387"/>
                    </a:cubicBezTo>
                    <a:cubicBezTo>
                      <a:pt x="0" y="3755"/>
                      <a:pt x="3755" y="0"/>
                      <a:pt x="8387" y="0"/>
                    </a:cubicBezTo>
                    <a:cubicBezTo>
                      <a:pt x="13019" y="0"/>
                      <a:pt x="16774" y="3755"/>
                      <a:pt x="16774" y="8387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" name="Рисунок 66">
                <a:extLst>
                  <a:ext uri="{FF2B5EF4-FFF2-40B4-BE49-F238E27FC236}">
                    <a16:creationId xmlns:a16="http://schemas.microsoft.com/office/drawing/2014/main" id="{84A0EED3-8D11-4E0D-B7B7-CB9780226AC9}"/>
                  </a:ext>
                </a:extLst>
              </p:cNvPr>
              <p:cNvSpPr/>
              <p:nvPr/>
            </p:nvSpPr>
            <p:spPr>
              <a:xfrm>
                <a:off x="1191750" y="4253665"/>
                <a:ext cx="16773" cy="16773"/>
              </a:xfrm>
              <a:custGeom>
                <a:avLst/>
                <a:gdLst>
                  <a:gd name="connsiteX0" fmla="*/ 16774 w 16773"/>
                  <a:gd name="connsiteY0" fmla="*/ 8387 h 16773"/>
                  <a:gd name="connsiteX1" fmla="*/ 8387 w 16773"/>
                  <a:gd name="connsiteY1" fmla="*/ 16774 h 16773"/>
                  <a:gd name="connsiteX2" fmla="*/ 0 w 16773"/>
                  <a:gd name="connsiteY2" fmla="*/ 8387 h 16773"/>
                  <a:gd name="connsiteX3" fmla="*/ 8387 w 16773"/>
                  <a:gd name="connsiteY3" fmla="*/ 0 h 16773"/>
                  <a:gd name="connsiteX4" fmla="*/ 16774 w 16773"/>
                  <a:gd name="connsiteY4" fmla="*/ 8387 h 16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773" h="16773">
                    <a:moveTo>
                      <a:pt x="16774" y="8387"/>
                    </a:moveTo>
                    <a:cubicBezTo>
                      <a:pt x="16774" y="13019"/>
                      <a:pt x="13019" y="16774"/>
                      <a:pt x="8387" y="16774"/>
                    </a:cubicBezTo>
                    <a:cubicBezTo>
                      <a:pt x="3755" y="16774"/>
                      <a:pt x="0" y="13019"/>
                      <a:pt x="0" y="8387"/>
                    </a:cubicBezTo>
                    <a:cubicBezTo>
                      <a:pt x="0" y="3755"/>
                      <a:pt x="3755" y="0"/>
                      <a:pt x="8387" y="0"/>
                    </a:cubicBezTo>
                    <a:cubicBezTo>
                      <a:pt x="13019" y="0"/>
                      <a:pt x="16774" y="3755"/>
                      <a:pt x="16774" y="8387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id="{02009106-27A6-454F-BD66-4876545E2AF4}"/>
              </a:ext>
            </a:extLst>
          </p:cNvPr>
          <p:cNvGrpSpPr/>
          <p:nvPr/>
        </p:nvGrpSpPr>
        <p:grpSpPr>
          <a:xfrm>
            <a:off x="1272219" y="2456649"/>
            <a:ext cx="550305" cy="550305"/>
            <a:chOff x="1729142" y="2873137"/>
            <a:chExt cx="550305" cy="550305"/>
          </a:xfrm>
        </p:grpSpPr>
        <p:sp>
          <p:nvSpPr>
            <p:cNvPr id="90" name="Овал 89">
              <a:extLst>
                <a:ext uri="{FF2B5EF4-FFF2-40B4-BE49-F238E27FC236}">
                  <a16:creationId xmlns:a16="http://schemas.microsoft.com/office/drawing/2014/main" id="{48D5BFAD-1C73-4365-8A0A-9F05E0A2D542}"/>
                </a:ext>
              </a:extLst>
            </p:cNvPr>
            <p:cNvSpPr/>
            <p:nvPr/>
          </p:nvSpPr>
          <p:spPr>
            <a:xfrm>
              <a:off x="1729142" y="2873137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91" name="Группа 90">
              <a:extLst>
                <a:ext uri="{FF2B5EF4-FFF2-40B4-BE49-F238E27FC236}">
                  <a16:creationId xmlns:a16="http://schemas.microsoft.com/office/drawing/2014/main" id="{BBB32C02-4096-49B3-9CA0-2FB2201D6B12}"/>
                </a:ext>
              </a:extLst>
            </p:cNvPr>
            <p:cNvGrpSpPr/>
            <p:nvPr/>
          </p:nvGrpSpPr>
          <p:grpSpPr>
            <a:xfrm>
              <a:off x="1845329" y="2996127"/>
              <a:ext cx="325450" cy="300742"/>
              <a:chOff x="1845329" y="2996127"/>
              <a:chExt cx="325450" cy="300742"/>
            </a:xfrm>
          </p:grpSpPr>
          <p:sp>
            <p:nvSpPr>
              <p:cNvPr id="92" name="Рисунок 61">
                <a:extLst>
                  <a:ext uri="{FF2B5EF4-FFF2-40B4-BE49-F238E27FC236}">
                    <a16:creationId xmlns:a16="http://schemas.microsoft.com/office/drawing/2014/main" id="{B000E3CD-095C-4B2B-943A-9F3760CB3172}"/>
                  </a:ext>
                </a:extLst>
              </p:cNvPr>
              <p:cNvSpPr/>
              <p:nvPr/>
            </p:nvSpPr>
            <p:spPr>
              <a:xfrm>
                <a:off x="1845329" y="3130674"/>
                <a:ext cx="107050" cy="101751"/>
              </a:xfrm>
              <a:custGeom>
                <a:avLst/>
                <a:gdLst>
                  <a:gd name="connsiteX0" fmla="*/ 101680 w 107050"/>
                  <a:gd name="connsiteY0" fmla="*/ 101751 h 101751"/>
                  <a:gd name="connsiteX1" fmla="*/ 5370 w 107050"/>
                  <a:gd name="connsiteY1" fmla="*/ 101751 h 101751"/>
                  <a:gd name="connsiteX2" fmla="*/ 0 w 107050"/>
                  <a:gd name="connsiteY2" fmla="*/ 96381 h 101751"/>
                  <a:gd name="connsiteX3" fmla="*/ 94484 w 107050"/>
                  <a:gd name="connsiteY3" fmla="*/ 0 h 101751"/>
                  <a:gd name="connsiteX4" fmla="*/ 99854 w 107050"/>
                  <a:gd name="connsiteY4" fmla="*/ 5370 h 101751"/>
                  <a:gd name="connsiteX5" fmla="*/ 94484 w 107050"/>
                  <a:gd name="connsiteY5" fmla="*/ 10741 h 101751"/>
                  <a:gd name="connsiteX6" fmla="*/ 10884 w 107050"/>
                  <a:gd name="connsiteY6" fmla="*/ 91011 h 101751"/>
                  <a:gd name="connsiteX7" fmla="*/ 101680 w 107050"/>
                  <a:gd name="connsiteY7" fmla="*/ 91011 h 101751"/>
                  <a:gd name="connsiteX8" fmla="*/ 107050 w 107050"/>
                  <a:gd name="connsiteY8" fmla="*/ 96381 h 101751"/>
                  <a:gd name="connsiteX9" fmla="*/ 101680 w 107050"/>
                  <a:gd name="connsiteY9" fmla="*/ 101751 h 10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7050" h="101751">
                    <a:moveTo>
                      <a:pt x="101680" y="101751"/>
                    </a:moveTo>
                    <a:lnTo>
                      <a:pt x="5370" y="101751"/>
                    </a:lnTo>
                    <a:cubicBezTo>
                      <a:pt x="2404" y="101751"/>
                      <a:pt x="0" y="99347"/>
                      <a:pt x="0" y="96381"/>
                    </a:cubicBezTo>
                    <a:cubicBezTo>
                      <a:pt x="0" y="43250"/>
                      <a:pt x="42390" y="0"/>
                      <a:pt x="94484" y="0"/>
                    </a:cubicBezTo>
                    <a:cubicBezTo>
                      <a:pt x="97449" y="0"/>
                      <a:pt x="99854" y="2405"/>
                      <a:pt x="99854" y="5370"/>
                    </a:cubicBezTo>
                    <a:cubicBezTo>
                      <a:pt x="99854" y="8336"/>
                      <a:pt x="97449" y="10741"/>
                      <a:pt x="94484" y="10741"/>
                    </a:cubicBezTo>
                    <a:cubicBezTo>
                      <a:pt x="49802" y="11247"/>
                      <a:pt x="13205" y="46387"/>
                      <a:pt x="10884" y="91011"/>
                    </a:cubicBezTo>
                    <a:lnTo>
                      <a:pt x="101680" y="91011"/>
                    </a:lnTo>
                    <a:cubicBezTo>
                      <a:pt x="104646" y="91011"/>
                      <a:pt x="107050" y="93415"/>
                      <a:pt x="107050" y="96381"/>
                    </a:cubicBezTo>
                    <a:cubicBezTo>
                      <a:pt x="107050" y="99347"/>
                      <a:pt x="104646" y="101751"/>
                      <a:pt x="101680" y="10175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3" name="Рисунок 61">
                <a:extLst>
                  <a:ext uri="{FF2B5EF4-FFF2-40B4-BE49-F238E27FC236}">
                    <a16:creationId xmlns:a16="http://schemas.microsoft.com/office/drawing/2014/main" id="{D8A8FCEB-F729-41C4-BF07-9EFE69D4DF54}"/>
                  </a:ext>
                </a:extLst>
              </p:cNvPr>
              <p:cNvSpPr/>
              <p:nvPr/>
            </p:nvSpPr>
            <p:spPr>
              <a:xfrm>
                <a:off x="1880774" y="2996127"/>
                <a:ext cx="118149" cy="118149"/>
              </a:xfrm>
              <a:custGeom>
                <a:avLst/>
                <a:gdLst>
                  <a:gd name="connsiteX0" fmla="*/ 59075 w 118149"/>
                  <a:gd name="connsiteY0" fmla="*/ 118149 h 118149"/>
                  <a:gd name="connsiteX1" fmla="*/ 0 w 118149"/>
                  <a:gd name="connsiteY1" fmla="*/ 59075 h 118149"/>
                  <a:gd name="connsiteX2" fmla="*/ 59075 w 118149"/>
                  <a:gd name="connsiteY2" fmla="*/ 0 h 118149"/>
                  <a:gd name="connsiteX3" fmla="*/ 118149 w 118149"/>
                  <a:gd name="connsiteY3" fmla="*/ 59075 h 118149"/>
                  <a:gd name="connsiteX4" fmla="*/ 59075 w 118149"/>
                  <a:gd name="connsiteY4" fmla="*/ 118149 h 118149"/>
                  <a:gd name="connsiteX5" fmla="*/ 59075 w 118149"/>
                  <a:gd name="connsiteY5" fmla="*/ 10741 h 118149"/>
                  <a:gd name="connsiteX6" fmla="*/ 10741 w 118149"/>
                  <a:gd name="connsiteY6" fmla="*/ 59075 h 118149"/>
                  <a:gd name="connsiteX7" fmla="*/ 59075 w 118149"/>
                  <a:gd name="connsiteY7" fmla="*/ 107408 h 118149"/>
                  <a:gd name="connsiteX8" fmla="*/ 107408 w 118149"/>
                  <a:gd name="connsiteY8" fmla="*/ 59075 h 118149"/>
                  <a:gd name="connsiteX9" fmla="*/ 59075 w 118149"/>
                  <a:gd name="connsiteY9" fmla="*/ 10741 h 118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8149" h="118149">
                    <a:moveTo>
                      <a:pt x="59075" y="118149"/>
                    </a:moveTo>
                    <a:cubicBezTo>
                      <a:pt x="26449" y="118149"/>
                      <a:pt x="0" y="91701"/>
                      <a:pt x="0" y="59075"/>
                    </a:cubicBezTo>
                    <a:cubicBezTo>
                      <a:pt x="0" y="26449"/>
                      <a:pt x="26449" y="0"/>
                      <a:pt x="59075" y="0"/>
                    </a:cubicBezTo>
                    <a:cubicBezTo>
                      <a:pt x="91701" y="0"/>
                      <a:pt x="118149" y="26449"/>
                      <a:pt x="118149" y="59075"/>
                    </a:cubicBezTo>
                    <a:cubicBezTo>
                      <a:pt x="118110" y="91684"/>
                      <a:pt x="91684" y="118110"/>
                      <a:pt x="59075" y="118149"/>
                    </a:cubicBezTo>
                    <a:close/>
                    <a:moveTo>
                      <a:pt x="59075" y="10741"/>
                    </a:moveTo>
                    <a:cubicBezTo>
                      <a:pt x="32381" y="10741"/>
                      <a:pt x="10741" y="32381"/>
                      <a:pt x="10741" y="59075"/>
                    </a:cubicBezTo>
                    <a:cubicBezTo>
                      <a:pt x="10741" y="85768"/>
                      <a:pt x="32381" y="107408"/>
                      <a:pt x="59075" y="107408"/>
                    </a:cubicBezTo>
                    <a:cubicBezTo>
                      <a:pt x="85768" y="107408"/>
                      <a:pt x="107408" y="85768"/>
                      <a:pt x="107408" y="59075"/>
                    </a:cubicBezTo>
                    <a:cubicBezTo>
                      <a:pt x="107369" y="32397"/>
                      <a:pt x="85752" y="10780"/>
                      <a:pt x="59075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4" name="Рисунок 61">
                <a:extLst>
                  <a:ext uri="{FF2B5EF4-FFF2-40B4-BE49-F238E27FC236}">
                    <a16:creationId xmlns:a16="http://schemas.microsoft.com/office/drawing/2014/main" id="{D46EC87A-0165-4D0E-BFEC-34D3E6D3A27F}"/>
                  </a:ext>
                </a:extLst>
              </p:cNvPr>
              <p:cNvSpPr/>
              <p:nvPr/>
            </p:nvSpPr>
            <p:spPr>
              <a:xfrm>
                <a:off x="1883312" y="3150469"/>
                <a:ext cx="61942" cy="24922"/>
              </a:xfrm>
              <a:custGeom>
                <a:avLst/>
                <a:gdLst>
                  <a:gd name="connsiteX0" fmla="*/ 56465 w 61942"/>
                  <a:gd name="connsiteY0" fmla="*/ 24922 h 24922"/>
                  <a:gd name="connsiteX1" fmla="*/ 2581 w 61942"/>
                  <a:gd name="connsiteY1" fmla="*/ 9993 h 24922"/>
                  <a:gd name="connsiteX2" fmla="*/ 791 w 61942"/>
                  <a:gd name="connsiteY2" fmla="*/ 2581 h 24922"/>
                  <a:gd name="connsiteX3" fmla="*/ 8202 w 61942"/>
                  <a:gd name="connsiteY3" fmla="*/ 791 h 24922"/>
                  <a:gd name="connsiteX4" fmla="*/ 56572 w 61942"/>
                  <a:gd name="connsiteY4" fmla="*/ 14181 h 24922"/>
                  <a:gd name="connsiteX5" fmla="*/ 61942 w 61942"/>
                  <a:gd name="connsiteY5" fmla="*/ 19552 h 24922"/>
                  <a:gd name="connsiteX6" fmla="*/ 56572 w 61942"/>
                  <a:gd name="connsiteY6" fmla="*/ 24922 h 24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1942" h="24922">
                    <a:moveTo>
                      <a:pt x="56465" y="24922"/>
                    </a:moveTo>
                    <a:cubicBezTo>
                      <a:pt x="37481" y="24936"/>
                      <a:pt x="18852" y="19774"/>
                      <a:pt x="2581" y="9993"/>
                    </a:cubicBezTo>
                    <a:cubicBezTo>
                      <a:pt x="40" y="8441"/>
                      <a:pt x="-761" y="5122"/>
                      <a:pt x="791" y="2581"/>
                    </a:cubicBezTo>
                    <a:cubicBezTo>
                      <a:pt x="2343" y="40"/>
                      <a:pt x="5662" y="-761"/>
                      <a:pt x="8202" y="791"/>
                    </a:cubicBezTo>
                    <a:cubicBezTo>
                      <a:pt x="22808" y="9570"/>
                      <a:pt x="39531" y="14200"/>
                      <a:pt x="56572" y="14181"/>
                    </a:cubicBezTo>
                    <a:cubicBezTo>
                      <a:pt x="59538" y="14181"/>
                      <a:pt x="61942" y="16586"/>
                      <a:pt x="61942" y="19552"/>
                    </a:cubicBezTo>
                    <a:cubicBezTo>
                      <a:pt x="61942" y="22518"/>
                      <a:pt x="59538" y="24922"/>
                      <a:pt x="56572" y="24922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5" name="Рисунок 61">
                <a:extLst>
                  <a:ext uri="{FF2B5EF4-FFF2-40B4-BE49-F238E27FC236}">
                    <a16:creationId xmlns:a16="http://schemas.microsoft.com/office/drawing/2014/main" id="{280BCD9A-DA24-4651-B9C4-2703E91401F0}"/>
                  </a:ext>
                </a:extLst>
              </p:cNvPr>
              <p:cNvSpPr/>
              <p:nvPr/>
            </p:nvSpPr>
            <p:spPr>
              <a:xfrm>
                <a:off x="1887790" y="3023190"/>
                <a:ext cx="103936" cy="24600"/>
              </a:xfrm>
              <a:custGeom>
                <a:avLst/>
                <a:gdLst>
                  <a:gd name="connsiteX0" fmla="*/ 98566 w 103936"/>
                  <a:gd name="connsiteY0" fmla="*/ 24421 h 24600"/>
                  <a:gd name="connsiteX1" fmla="*/ 67489 w 103936"/>
                  <a:gd name="connsiteY1" fmla="*/ 12320 h 24600"/>
                  <a:gd name="connsiteX2" fmla="*/ 2078 w 103936"/>
                  <a:gd name="connsiteY2" fmla="*/ 12642 h 24600"/>
                  <a:gd name="connsiteX3" fmla="*/ 1129 w 103936"/>
                  <a:gd name="connsiteY3" fmla="*/ 5106 h 24600"/>
                  <a:gd name="connsiteX4" fmla="*/ 8665 w 103936"/>
                  <a:gd name="connsiteY4" fmla="*/ 4157 h 24600"/>
                  <a:gd name="connsiteX5" fmla="*/ 65699 w 103936"/>
                  <a:gd name="connsiteY5" fmla="*/ 899 h 24600"/>
                  <a:gd name="connsiteX6" fmla="*/ 73145 w 103936"/>
                  <a:gd name="connsiteY6" fmla="*/ 2397 h 24600"/>
                  <a:gd name="connsiteX7" fmla="*/ 73218 w 103936"/>
                  <a:gd name="connsiteY7" fmla="*/ 2510 h 24600"/>
                  <a:gd name="connsiteX8" fmla="*/ 98566 w 103936"/>
                  <a:gd name="connsiteY8" fmla="*/ 13860 h 24600"/>
                  <a:gd name="connsiteX9" fmla="*/ 103936 w 103936"/>
                  <a:gd name="connsiteY9" fmla="*/ 19230 h 24600"/>
                  <a:gd name="connsiteX10" fmla="*/ 98566 w 103936"/>
                  <a:gd name="connsiteY10" fmla="*/ 24600 h 24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3936" h="24600">
                    <a:moveTo>
                      <a:pt x="98566" y="24421"/>
                    </a:moveTo>
                    <a:cubicBezTo>
                      <a:pt x="86989" y="24803"/>
                      <a:pt x="75760" y="20430"/>
                      <a:pt x="67489" y="12320"/>
                    </a:cubicBezTo>
                    <a:cubicBezTo>
                      <a:pt x="56748" y="18335"/>
                      <a:pt x="26531" y="31654"/>
                      <a:pt x="2078" y="12642"/>
                    </a:cubicBezTo>
                    <a:cubicBezTo>
                      <a:pt x="-266" y="10823"/>
                      <a:pt x="-690" y="7449"/>
                      <a:pt x="1129" y="5106"/>
                    </a:cubicBezTo>
                    <a:cubicBezTo>
                      <a:pt x="2948" y="2762"/>
                      <a:pt x="6322" y="2338"/>
                      <a:pt x="8665" y="4157"/>
                    </a:cubicBezTo>
                    <a:cubicBezTo>
                      <a:pt x="32367" y="22595"/>
                      <a:pt x="65377" y="1114"/>
                      <a:pt x="65699" y="899"/>
                    </a:cubicBezTo>
                    <a:cubicBezTo>
                      <a:pt x="68169" y="-743"/>
                      <a:pt x="71502" y="-72"/>
                      <a:pt x="73145" y="2397"/>
                    </a:cubicBezTo>
                    <a:cubicBezTo>
                      <a:pt x="73170" y="2435"/>
                      <a:pt x="73194" y="2472"/>
                      <a:pt x="73218" y="2510"/>
                    </a:cubicBezTo>
                    <a:cubicBezTo>
                      <a:pt x="73504" y="2940"/>
                      <a:pt x="80915" y="13860"/>
                      <a:pt x="98566" y="13860"/>
                    </a:cubicBezTo>
                    <a:cubicBezTo>
                      <a:pt x="101532" y="13860"/>
                      <a:pt x="103936" y="16264"/>
                      <a:pt x="103936" y="19230"/>
                    </a:cubicBezTo>
                    <a:cubicBezTo>
                      <a:pt x="103936" y="22196"/>
                      <a:pt x="101532" y="24600"/>
                      <a:pt x="98566" y="24600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6" name="Рисунок 61">
                <a:extLst>
                  <a:ext uri="{FF2B5EF4-FFF2-40B4-BE49-F238E27FC236}">
                    <a16:creationId xmlns:a16="http://schemas.microsoft.com/office/drawing/2014/main" id="{9D9ED747-59DB-48FE-9360-F0F3E838E15D}"/>
                  </a:ext>
                </a:extLst>
              </p:cNvPr>
              <p:cNvSpPr/>
              <p:nvPr/>
            </p:nvSpPr>
            <p:spPr>
              <a:xfrm>
                <a:off x="2060247" y="3118286"/>
                <a:ext cx="110532" cy="74756"/>
              </a:xfrm>
              <a:custGeom>
                <a:avLst/>
                <a:gdLst>
                  <a:gd name="connsiteX0" fmla="*/ 105159 w 110532"/>
                  <a:gd name="connsiteY0" fmla="*/ 74756 h 74756"/>
                  <a:gd name="connsiteX1" fmla="*/ 8492 w 110532"/>
                  <a:gd name="connsiteY1" fmla="*/ 74756 h 74756"/>
                  <a:gd name="connsiteX2" fmla="*/ 3121 w 110532"/>
                  <a:gd name="connsiteY2" fmla="*/ 69386 h 74756"/>
                  <a:gd name="connsiteX3" fmla="*/ 8492 w 110532"/>
                  <a:gd name="connsiteY3" fmla="*/ 64016 h 74756"/>
                  <a:gd name="connsiteX4" fmla="*/ 99538 w 110532"/>
                  <a:gd name="connsiteY4" fmla="*/ 64016 h 74756"/>
                  <a:gd name="connsiteX5" fmla="*/ 42504 w 110532"/>
                  <a:gd name="connsiteY5" fmla="*/ 10741 h 74756"/>
                  <a:gd name="connsiteX6" fmla="*/ 8456 w 110532"/>
                  <a:gd name="connsiteY6" fmla="*/ 22198 h 74756"/>
                  <a:gd name="connsiteX7" fmla="*/ 975 w 110532"/>
                  <a:gd name="connsiteY7" fmla="*/ 20887 h 74756"/>
                  <a:gd name="connsiteX8" fmla="*/ 1975 w 110532"/>
                  <a:gd name="connsiteY8" fmla="*/ 13641 h 74756"/>
                  <a:gd name="connsiteX9" fmla="*/ 42504 w 110532"/>
                  <a:gd name="connsiteY9" fmla="*/ 0 h 74756"/>
                  <a:gd name="connsiteX10" fmla="*/ 110529 w 110532"/>
                  <a:gd name="connsiteY10" fmla="*/ 69386 h 74756"/>
                  <a:gd name="connsiteX11" fmla="*/ 105159 w 110532"/>
                  <a:gd name="connsiteY11" fmla="*/ 74756 h 74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0532" h="74756">
                    <a:moveTo>
                      <a:pt x="105159" y="74756"/>
                    </a:moveTo>
                    <a:lnTo>
                      <a:pt x="8492" y="74756"/>
                    </a:lnTo>
                    <a:cubicBezTo>
                      <a:pt x="5526" y="74756"/>
                      <a:pt x="3121" y="72352"/>
                      <a:pt x="3121" y="69386"/>
                    </a:cubicBezTo>
                    <a:cubicBezTo>
                      <a:pt x="3121" y="66420"/>
                      <a:pt x="5526" y="64016"/>
                      <a:pt x="8492" y="64016"/>
                    </a:cubicBezTo>
                    <a:lnTo>
                      <a:pt x="99538" y="64016"/>
                    </a:lnTo>
                    <a:cubicBezTo>
                      <a:pt x="97153" y="34186"/>
                      <a:pt x="72427" y="11090"/>
                      <a:pt x="42504" y="10741"/>
                    </a:cubicBezTo>
                    <a:cubicBezTo>
                      <a:pt x="30204" y="10714"/>
                      <a:pt x="18238" y="14741"/>
                      <a:pt x="8456" y="22198"/>
                    </a:cubicBezTo>
                    <a:cubicBezTo>
                      <a:pt x="6028" y="23902"/>
                      <a:pt x="2679" y="23315"/>
                      <a:pt x="975" y="20887"/>
                    </a:cubicBezTo>
                    <a:cubicBezTo>
                      <a:pt x="-642" y="18583"/>
                      <a:pt x="-206" y="15421"/>
                      <a:pt x="1975" y="13641"/>
                    </a:cubicBezTo>
                    <a:cubicBezTo>
                      <a:pt x="13618" y="4762"/>
                      <a:pt x="27862" y="-32"/>
                      <a:pt x="42504" y="0"/>
                    </a:cubicBezTo>
                    <a:cubicBezTo>
                      <a:pt x="80433" y="413"/>
                      <a:pt x="110867" y="31456"/>
                      <a:pt x="110529" y="69386"/>
                    </a:cubicBezTo>
                    <a:cubicBezTo>
                      <a:pt x="110529" y="72352"/>
                      <a:pt x="108125" y="74756"/>
                      <a:pt x="105159" y="747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7" name="Рисунок 61">
                <a:extLst>
                  <a:ext uri="{FF2B5EF4-FFF2-40B4-BE49-F238E27FC236}">
                    <a16:creationId xmlns:a16="http://schemas.microsoft.com/office/drawing/2014/main" id="{EE01DCE1-A935-446C-84CA-A7274F7BA749}"/>
                  </a:ext>
                </a:extLst>
              </p:cNvPr>
              <p:cNvSpPr/>
              <p:nvPr/>
            </p:nvSpPr>
            <p:spPr>
              <a:xfrm>
                <a:off x="2056208" y="3014028"/>
                <a:ext cx="93087" cy="93087"/>
              </a:xfrm>
              <a:custGeom>
                <a:avLst/>
                <a:gdLst>
                  <a:gd name="connsiteX0" fmla="*/ 46544 w 93087"/>
                  <a:gd name="connsiteY0" fmla="*/ 93087 h 93087"/>
                  <a:gd name="connsiteX1" fmla="*/ 0 w 93087"/>
                  <a:gd name="connsiteY1" fmla="*/ 46544 h 93087"/>
                  <a:gd name="connsiteX2" fmla="*/ 46544 w 93087"/>
                  <a:gd name="connsiteY2" fmla="*/ 0 h 93087"/>
                  <a:gd name="connsiteX3" fmla="*/ 93087 w 93087"/>
                  <a:gd name="connsiteY3" fmla="*/ 46544 h 93087"/>
                  <a:gd name="connsiteX4" fmla="*/ 46544 w 93087"/>
                  <a:gd name="connsiteY4" fmla="*/ 93087 h 93087"/>
                  <a:gd name="connsiteX5" fmla="*/ 46544 w 93087"/>
                  <a:gd name="connsiteY5" fmla="*/ 10741 h 93087"/>
                  <a:gd name="connsiteX6" fmla="*/ 10741 w 93087"/>
                  <a:gd name="connsiteY6" fmla="*/ 46544 h 93087"/>
                  <a:gd name="connsiteX7" fmla="*/ 46544 w 93087"/>
                  <a:gd name="connsiteY7" fmla="*/ 82346 h 93087"/>
                  <a:gd name="connsiteX8" fmla="*/ 82346 w 93087"/>
                  <a:gd name="connsiteY8" fmla="*/ 46544 h 93087"/>
                  <a:gd name="connsiteX9" fmla="*/ 46544 w 93087"/>
                  <a:gd name="connsiteY9" fmla="*/ 10741 h 93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087" h="93087">
                    <a:moveTo>
                      <a:pt x="46544" y="93087"/>
                    </a:moveTo>
                    <a:cubicBezTo>
                      <a:pt x="20838" y="93087"/>
                      <a:pt x="0" y="72249"/>
                      <a:pt x="0" y="46544"/>
                    </a:cubicBezTo>
                    <a:cubicBezTo>
                      <a:pt x="0" y="20838"/>
                      <a:pt x="20838" y="0"/>
                      <a:pt x="46544" y="0"/>
                    </a:cubicBezTo>
                    <a:cubicBezTo>
                      <a:pt x="72249" y="0"/>
                      <a:pt x="93087" y="20838"/>
                      <a:pt x="93087" y="46544"/>
                    </a:cubicBezTo>
                    <a:cubicBezTo>
                      <a:pt x="93087" y="72249"/>
                      <a:pt x="72249" y="93087"/>
                      <a:pt x="46544" y="93087"/>
                    </a:cubicBezTo>
                    <a:close/>
                    <a:moveTo>
                      <a:pt x="46544" y="10741"/>
                    </a:moveTo>
                    <a:cubicBezTo>
                      <a:pt x="26770" y="10741"/>
                      <a:pt x="10741" y="26770"/>
                      <a:pt x="10741" y="46544"/>
                    </a:cubicBezTo>
                    <a:cubicBezTo>
                      <a:pt x="10741" y="66317"/>
                      <a:pt x="26770" y="82346"/>
                      <a:pt x="46544" y="82346"/>
                    </a:cubicBezTo>
                    <a:cubicBezTo>
                      <a:pt x="66317" y="82346"/>
                      <a:pt x="82346" y="66317"/>
                      <a:pt x="82346" y="46544"/>
                    </a:cubicBezTo>
                    <a:cubicBezTo>
                      <a:pt x="82346" y="26770"/>
                      <a:pt x="66317" y="10741"/>
                      <a:pt x="46544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8" name="Рисунок 61">
                <a:extLst>
                  <a:ext uri="{FF2B5EF4-FFF2-40B4-BE49-F238E27FC236}">
                    <a16:creationId xmlns:a16="http://schemas.microsoft.com/office/drawing/2014/main" id="{B1AB6DF4-8E44-45B9-A033-33D7C2357650}"/>
                  </a:ext>
                </a:extLst>
              </p:cNvPr>
              <p:cNvSpPr/>
              <p:nvPr/>
            </p:nvSpPr>
            <p:spPr>
              <a:xfrm>
                <a:off x="2084792" y="3019985"/>
                <a:ext cx="64524" cy="45600"/>
              </a:xfrm>
              <a:custGeom>
                <a:avLst/>
                <a:gdLst>
                  <a:gd name="connsiteX0" fmla="*/ 45671 w 64524"/>
                  <a:gd name="connsiteY0" fmla="*/ 45599 h 45600"/>
                  <a:gd name="connsiteX1" fmla="*/ 58 w 64524"/>
                  <a:gd name="connsiteY1" fmla="*/ 6216 h 45600"/>
                  <a:gd name="connsiteX2" fmla="*/ 4641 w 64524"/>
                  <a:gd name="connsiteY2" fmla="*/ 58 h 45600"/>
                  <a:gd name="connsiteX3" fmla="*/ 10799 w 64524"/>
                  <a:gd name="connsiteY3" fmla="*/ 4641 h 45600"/>
                  <a:gd name="connsiteX4" fmla="*/ 51225 w 64524"/>
                  <a:gd name="connsiteY4" fmla="*/ 34450 h 45600"/>
                  <a:gd name="connsiteX5" fmla="*/ 57343 w 64524"/>
                  <a:gd name="connsiteY5" fmla="*/ 32961 h 45600"/>
                  <a:gd name="connsiteX6" fmla="*/ 64217 w 64524"/>
                  <a:gd name="connsiteY6" fmla="*/ 36255 h 45600"/>
                  <a:gd name="connsiteX7" fmla="*/ 60923 w 64524"/>
                  <a:gd name="connsiteY7" fmla="*/ 43129 h 45600"/>
                  <a:gd name="connsiteX8" fmla="*/ 45671 w 64524"/>
                  <a:gd name="connsiteY8" fmla="*/ 45599 h 45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524" h="45600">
                    <a:moveTo>
                      <a:pt x="45671" y="45599"/>
                    </a:moveTo>
                    <a:cubicBezTo>
                      <a:pt x="22873" y="45415"/>
                      <a:pt x="3565" y="28743"/>
                      <a:pt x="58" y="6216"/>
                    </a:cubicBezTo>
                    <a:cubicBezTo>
                      <a:pt x="-377" y="3250"/>
                      <a:pt x="1675" y="493"/>
                      <a:pt x="4641" y="58"/>
                    </a:cubicBezTo>
                    <a:cubicBezTo>
                      <a:pt x="7607" y="-377"/>
                      <a:pt x="10364" y="1675"/>
                      <a:pt x="10799" y="4641"/>
                    </a:cubicBezTo>
                    <a:cubicBezTo>
                      <a:pt x="13731" y="24036"/>
                      <a:pt x="31830" y="37382"/>
                      <a:pt x="51225" y="34450"/>
                    </a:cubicBezTo>
                    <a:cubicBezTo>
                      <a:pt x="53304" y="34136"/>
                      <a:pt x="55351" y="33638"/>
                      <a:pt x="57343" y="32961"/>
                    </a:cubicBezTo>
                    <a:cubicBezTo>
                      <a:pt x="60150" y="31972"/>
                      <a:pt x="63228" y="33447"/>
                      <a:pt x="64217" y="36255"/>
                    </a:cubicBezTo>
                    <a:cubicBezTo>
                      <a:pt x="65205" y="39062"/>
                      <a:pt x="63731" y="42140"/>
                      <a:pt x="60923" y="43129"/>
                    </a:cubicBezTo>
                    <a:cubicBezTo>
                      <a:pt x="56014" y="44804"/>
                      <a:pt x="50858" y="45639"/>
                      <a:pt x="45671" y="45599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9" name="Рисунок 61">
                <a:extLst>
                  <a:ext uri="{FF2B5EF4-FFF2-40B4-BE49-F238E27FC236}">
                    <a16:creationId xmlns:a16="http://schemas.microsoft.com/office/drawing/2014/main" id="{6EAD5B8D-CEED-4362-8250-BF99F8E77BBD}"/>
                  </a:ext>
                </a:extLst>
              </p:cNvPr>
              <p:cNvSpPr/>
              <p:nvPr/>
            </p:nvSpPr>
            <p:spPr>
              <a:xfrm>
                <a:off x="2138554" y="3056991"/>
                <a:ext cx="28939" cy="96667"/>
              </a:xfrm>
              <a:custGeom>
                <a:avLst/>
                <a:gdLst>
                  <a:gd name="connsiteX0" fmla="*/ 16111 w 28939"/>
                  <a:gd name="connsiteY0" fmla="*/ 96667 h 96667"/>
                  <a:gd name="connsiteX1" fmla="*/ 10741 w 28939"/>
                  <a:gd name="connsiteY1" fmla="*/ 91297 h 96667"/>
                  <a:gd name="connsiteX2" fmla="*/ 11815 w 28939"/>
                  <a:gd name="connsiteY2" fmla="*/ 88075 h 96667"/>
                  <a:gd name="connsiteX3" fmla="*/ 9846 w 28939"/>
                  <a:gd name="connsiteY3" fmla="*/ 41531 h 96667"/>
                  <a:gd name="connsiteX4" fmla="*/ 0 w 28939"/>
                  <a:gd name="connsiteY4" fmla="*/ 5370 h 96667"/>
                  <a:gd name="connsiteX5" fmla="*/ 5370 w 28939"/>
                  <a:gd name="connsiteY5" fmla="*/ 0 h 96667"/>
                  <a:gd name="connsiteX6" fmla="*/ 10741 w 28939"/>
                  <a:gd name="connsiteY6" fmla="*/ 5370 h 96667"/>
                  <a:gd name="connsiteX7" fmla="*/ 19727 w 28939"/>
                  <a:gd name="connsiteY7" fmla="*/ 37271 h 96667"/>
                  <a:gd name="connsiteX8" fmla="*/ 20408 w 28939"/>
                  <a:gd name="connsiteY8" fmla="*/ 94555 h 96667"/>
                  <a:gd name="connsiteX9" fmla="*/ 16111 w 28939"/>
                  <a:gd name="connsiteY9" fmla="*/ 96667 h 96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939" h="96667">
                    <a:moveTo>
                      <a:pt x="16111" y="96667"/>
                    </a:moveTo>
                    <a:cubicBezTo>
                      <a:pt x="13145" y="96667"/>
                      <a:pt x="10741" y="94263"/>
                      <a:pt x="10741" y="91297"/>
                    </a:cubicBezTo>
                    <a:cubicBezTo>
                      <a:pt x="10741" y="90135"/>
                      <a:pt x="11118" y="89004"/>
                      <a:pt x="11815" y="88075"/>
                    </a:cubicBezTo>
                    <a:cubicBezTo>
                      <a:pt x="23200" y="72930"/>
                      <a:pt x="17006" y="58323"/>
                      <a:pt x="9846" y="41531"/>
                    </a:cubicBezTo>
                    <a:cubicBezTo>
                      <a:pt x="5012" y="30074"/>
                      <a:pt x="0" y="18331"/>
                      <a:pt x="0" y="5370"/>
                    </a:cubicBezTo>
                    <a:cubicBezTo>
                      <a:pt x="0" y="2405"/>
                      <a:pt x="2405" y="0"/>
                      <a:pt x="5370" y="0"/>
                    </a:cubicBezTo>
                    <a:cubicBezTo>
                      <a:pt x="8336" y="0"/>
                      <a:pt x="10741" y="2405"/>
                      <a:pt x="10741" y="5370"/>
                    </a:cubicBezTo>
                    <a:cubicBezTo>
                      <a:pt x="10741" y="16111"/>
                      <a:pt x="15288" y="26852"/>
                      <a:pt x="19727" y="37271"/>
                    </a:cubicBezTo>
                    <a:cubicBezTo>
                      <a:pt x="27497" y="55530"/>
                      <a:pt x="35516" y="74398"/>
                      <a:pt x="20408" y="94555"/>
                    </a:cubicBezTo>
                    <a:cubicBezTo>
                      <a:pt x="19386" y="95894"/>
                      <a:pt x="17795" y="96676"/>
                      <a:pt x="16111" y="96667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0" name="Рисунок 61">
                <a:extLst>
                  <a:ext uri="{FF2B5EF4-FFF2-40B4-BE49-F238E27FC236}">
                    <a16:creationId xmlns:a16="http://schemas.microsoft.com/office/drawing/2014/main" id="{5EB3BEF0-2A04-4359-AB7A-8EF96A4314BE}"/>
                  </a:ext>
                </a:extLst>
              </p:cNvPr>
              <p:cNvSpPr/>
              <p:nvPr/>
            </p:nvSpPr>
            <p:spPr>
              <a:xfrm>
                <a:off x="2040752" y="3057135"/>
                <a:ext cx="26268" cy="60327"/>
              </a:xfrm>
              <a:custGeom>
                <a:avLst/>
                <a:gdLst>
                  <a:gd name="connsiteX0" fmla="*/ 5503 w 26268"/>
                  <a:gd name="connsiteY0" fmla="*/ 60328 h 60327"/>
                  <a:gd name="connsiteX1" fmla="*/ 3820 w 26268"/>
                  <a:gd name="connsiteY1" fmla="*/ 60041 h 60327"/>
                  <a:gd name="connsiteX2" fmla="*/ 212 w 26268"/>
                  <a:gd name="connsiteY2" fmla="*/ 53473 h 60327"/>
                  <a:gd name="connsiteX3" fmla="*/ 240 w 26268"/>
                  <a:gd name="connsiteY3" fmla="*/ 53382 h 60327"/>
                  <a:gd name="connsiteX4" fmla="*/ 1744 w 26268"/>
                  <a:gd name="connsiteY4" fmla="*/ 49802 h 60327"/>
                  <a:gd name="connsiteX5" fmla="*/ 15528 w 26268"/>
                  <a:gd name="connsiteY5" fmla="*/ 5370 h 60327"/>
                  <a:gd name="connsiteX6" fmla="*/ 20898 w 26268"/>
                  <a:gd name="connsiteY6" fmla="*/ 0 h 60327"/>
                  <a:gd name="connsiteX7" fmla="*/ 26268 w 26268"/>
                  <a:gd name="connsiteY7" fmla="*/ 5370 h 60327"/>
                  <a:gd name="connsiteX8" fmla="*/ 11661 w 26268"/>
                  <a:gd name="connsiteY8" fmla="*/ 53955 h 60327"/>
                  <a:gd name="connsiteX9" fmla="*/ 10479 w 26268"/>
                  <a:gd name="connsiteY9" fmla="*/ 56819 h 60327"/>
                  <a:gd name="connsiteX10" fmla="*/ 5503 w 26268"/>
                  <a:gd name="connsiteY10" fmla="*/ 60328 h 60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268" h="60327">
                    <a:moveTo>
                      <a:pt x="5503" y="60328"/>
                    </a:moveTo>
                    <a:cubicBezTo>
                      <a:pt x="4930" y="60325"/>
                      <a:pt x="4361" y="60228"/>
                      <a:pt x="3820" y="60041"/>
                    </a:cubicBezTo>
                    <a:cubicBezTo>
                      <a:pt x="1010" y="59224"/>
                      <a:pt x="-605" y="56283"/>
                      <a:pt x="212" y="53473"/>
                    </a:cubicBezTo>
                    <a:cubicBezTo>
                      <a:pt x="221" y="53443"/>
                      <a:pt x="231" y="53412"/>
                      <a:pt x="240" y="53382"/>
                    </a:cubicBezTo>
                    <a:cubicBezTo>
                      <a:pt x="240" y="52952"/>
                      <a:pt x="920" y="51628"/>
                      <a:pt x="1744" y="49802"/>
                    </a:cubicBezTo>
                    <a:cubicBezTo>
                      <a:pt x="5324" y="41674"/>
                      <a:pt x="15528" y="16971"/>
                      <a:pt x="15528" y="5370"/>
                    </a:cubicBezTo>
                    <a:cubicBezTo>
                      <a:pt x="15528" y="2405"/>
                      <a:pt x="17932" y="0"/>
                      <a:pt x="20898" y="0"/>
                    </a:cubicBezTo>
                    <a:cubicBezTo>
                      <a:pt x="23864" y="0"/>
                      <a:pt x="26268" y="2405"/>
                      <a:pt x="26268" y="5370"/>
                    </a:cubicBezTo>
                    <a:cubicBezTo>
                      <a:pt x="26268" y="17687"/>
                      <a:pt x="17926" y="38989"/>
                      <a:pt x="11661" y="53955"/>
                    </a:cubicBezTo>
                    <a:cubicBezTo>
                      <a:pt x="11052" y="55423"/>
                      <a:pt x="10623" y="56425"/>
                      <a:pt x="10479" y="56819"/>
                    </a:cubicBezTo>
                    <a:cubicBezTo>
                      <a:pt x="9691" y="58894"/>
                      <a:pt x="7722" y="60283"/>
                      <a:pt x="5503" y="60328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1" name="Рисунок 61">
                <a:extLst>
                  <a:ext uri="{FF2B5EF4-FFF2-40B4-BE49-F238E27FC236}">
                    <a16:creationId xmlns:a16="http://schemas.microsoft.com/office/drawing/2014/main" id="{3E84D4B0-4755-4A28-B66E-111EEE2CFE3C}"/>
                  </a:ext>
                </a:extLst>
              </p:cNvPr>
              <p:cNvSpPr/>
              <p:nvPr/>
            </p:nvSpPr>
            <p:spPr>
              <a:xfrm>
                <a:off x="1938846" y="3223474"/>
                <a:ext cx="136050" cy="73395"/>
              </a:xfrm>
              <a:custGeom>
                <a:avLst/>
                <a:gdLst>
                  <a:gd name="connsiteX0" fmla="*/ 130680 w 136050"/>
                  <a:gd name="connsiteY0" fmla="*/ 73396 h 73395"/>
                  <a:gd name="connsiteX1" fmla="*/ 5370 w 136050"/>
                  <a:gd name="connsiteY1" fmla="*/ 73396 h 73395"/>
                  <a:gd name="connsiteX2" fmla="*/ 0 w 136050"/>
                  <a:gd name="connsiteY2" fmla="*/ 68025 h 73395"/>
                  <a:gd name="connsiteX3" fmla="*/ 68025 w 136050"/>
                  <a:gd name="connsiteY3" fmla="*/ 0 h 73395"/>
                  <a:gd name="connsiteX4" fmla="*/ 136051 w 136050"/>
                  <a:gd name="connsiteY4" fmla="*/ 68025 h 73395"/>
                  <a:gd name="connsiteX5" fmla="*/ 130680 w 136050"/>
                  <a:gd name="connsiteY5" fmla="*/ 73396 h 73395"/>
                  <a:gd name="connsiteX6" fmla="*/ 10956 w 136050"/>
                  <a:gd name="connsiteY6" fmla="*/ 62655 h 73395"/>
                  <a:gd name="connsiteX7" fmla="*/ 125059 w 136050"/>
                  <a:gd name="connsiteY7" fmla="*/ 62655 h 73395"/>
                  <a:gd name="connsiteX8" fmla="*/ 62849 w 136050"/>
                  <a:gd name="connsiteY8" fmla="*/ 10762 h 73395"/>
                  <a:gd name="connsiteX9" fmla="*/ 10956 w 136050"/>
                  <a:gd name="connsiteY9" fmla="*/ 62655 h 73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6050" h="73395">
                    <a:moveTo>
                      <a:pt x="130680" y="73396"/>
                    </a:moveTo>
                    <a:lnTo>
                      <a:pt x="5370" y="73396"/>
                    </a:lnTo>
                    <a:cubicBezTo>
                      <a:pt x="2405" y="73396"/>
                      <a:pt x="0" y="70991"/>
                      <a:pt x="0" y="68025"/>
                    </a:cubicBezTo>
                    <a:cubicBezTo>
                      <a:pt x="0" y="30456"/>
                      <a:pt x="30456" y="0"/>
                      <a:pt x="68025" y="0"/>
                    </a:cubicBezTo>
                    <a:cubicBezTo>
                      <a:pt x="105595" y="0"/>
                      <a:pt x="136051" y="30456"/>
                      <a:pt x="136051" y="68025"/>
                    </a:cubicBezTo>
                    <a:cubicBezTo>
                      <a:pt x="136051" y="70991"/>
                      <a:pt x="133646" y="73396"/>
                      <a:pt x="130680" y="73396"/>
                    </a:cubicBezTo>
                    <a:close/>
                    <a:moveTo>
                      <a:pt x="10956" y="62655"/>
                    </a:moveTo>
                    <a:lnTo>
                      <a:pt x="125059" y="62655"/>
                    </a:lnTo>
                    <a:cubicBezTo>
                      <a:pt x="122210" y="31146"/>
                      <a:pt x="94358" y="7912"/>
                      <a:pt x="62849" y="10762"/>
                    </a:cubicBezTo>
                    <a:cubicBezTo>
                      <a:pt x="35287" y="13253"/>
                      <a:pt x="13448" y="35093"/>
                      <a:pt x="10956" y="62655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" name="Рисунок 61">
                <a:extLst>
                  <a:ext uri="{FF2B5EF4-FFF2-40B4-BE49-F238E27FC236}">
                    <a16:creationId xmlns:a16="http://schemas.microsoft.com/office/drawing/2014/main" id="{59C9E2DA-DBAF-4F86-97A6-82FAACE90BF3}"/>
                  </a:ext>
                </a:extLst>
              </p:cNvPr>
              <p:cNvSpPr/>
              <p:nvPr/>
            </p:nvSpPr>
            <p:spPr>
              <a:xfrm>
                <a:off x="1959540" y="3117856"/>
                <a:ext cx="93087" cy="93087"/>
              </a:xfrm>
              <a:custGeom>
                <a:avLst/>
                <a:gdLst>
                  <a:gd name="connsiteX0" fmla="*/ 46544 w 93087"/>
                  <a:gd name="connsiteY0" fmla="*/ 93087 h 93087"/>
                  <a:gd name="connsiteX1" fmla="*/ 0 w 93087"/>
                  <a:gd name="connsiteY1" fmla="*/ 46544 h 93087"/>
                  <a:gd name="connsiteX2" fmla="*/ 46544 w 93087"/>
                  <a:gd name="connsiteY2" fmla="*/ 0 h 93087"/>
                  <a:gd name="connsiteX3" fmla="*/ 93087 w 93087"/>
                  <a:gd name="connsiteY3" fmla="*/ 46544 h 93087"/>
                  <a:gd name="connsiteX4" fmla="*/ 46544 w 93087"/>
                  <a:gd name="connsiteY4" fmla="*/ 93087 h 93087"/>
                  <a:gd name="connsiteX5" fmla="*/ 46544 w 93087"/>
                  <a:gd name="connsiteY5" fmla="*/ 10741 h 93087"/>
                  <a:gd name="connsiteX6" fmla="*/ 10741 w 93087"/>
                  <a:gd name="connsiteY6" fmla="*/ 46544 h 93087"/>
                  <a:gd name="connsiteX7" fmla="*/ 46544 w 93087"/>
                  <a:gd name="connsiteY7" fmla="*/ 82346 h 93087"/>
                  <a:gd name="connsiteX8" fmla="*/ 82346 w 93087"/>
                  <a:gd name="connsiteY8" fmla="*/ 46544 h 93087"/>
                  <a:gd name="connsiteX9" fmla="*/ 46544 w 93087"/>
                  <a:gd name="connsiteY9" fmla="*/ 10741 h 93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087" h="93087">
                    <a:moveTo>
                      <a:pt x="46544" y="93087"/>
                    </a:moveTo>
                    <a:cubicBezTo>
                      <a:pt x="20838" y="93087"/>
                      <a:pt x="0" y="72249"/>
                      <a:pt x="0" y="46544"/>
                    </a:cubicBezTo>
                    <a:cubicBezTo>
                      <a:pt x="0" y="20838"/>
                      <a:pt x="20838" y="0"/>
                      <a:pt x="46544" y="0"/>
                    </a:cubicBezTo>
                    <a:cubicBezTo>
                      <a:pt x="72249" y="0"/>
                      <a:pt x="93087" y="20838"/>
                      <a:pt x="93087" y="46544"/>
                    </a:cubicBezTo>
                    <a:cubicBezTo>
                      <a:pt x="93087" y="72249"/>
                      <a:pt x="72249" y="93087"/>
                      <a:pt x="46544" y="93087"/>
                    </a:cubicBezTo>
                    <a:close/>
                    <a:moveTo>
                      <a:pt x="46544" y="10741"/>
                    </a:moveTo>
                    <a:cubicBezTo>
                      <a:pt x="26770" y="10741"/>
                      <a:pt x="10741" y="26770"/>
                      <a:pt x="10741" y="46544"/>
                    </a:cubicBezTo>
                    <a:cubicBezTo>
                      <a:pt x="10741" y="66317"/>
                      <a:pt x="26770" y="82346"/>
                      <a:pt x="46544" y="82346"/>
                    </a:cubicBezTo>
                    <a:cubicBezTo>
                      <a:pt x="66317" y="82346"/>
                      <a:pt x="82346" y="66317"/>
                      <a:pt x="82346" y="46544"/>
                    </a:cubicBezTo>
                    <a:cubicBezTo>
                      <a:pt x="82346" y="26770"/>
                      <a:pt x="66317" y="10741"/>
                      <a:pt x="46544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3" name="Рисунок 61">
                <a:extLst>
                  <a:ext uri="{FF2B5EF4-FFF2-40B4-BE49-F238E27FC236}">
                    <a16:creationId xmlns:a16="http://schemas.microsoft.com/office/drawing/2014/main" id="{1B8414C8-3941-42E5-BDBB-59C05E0BD0DB}"/>
                  </a:ext>
                </a:extLst>
              </p:cNvPr>
              <p:cNvSpPr/>
              <p:nvPr/>
            </p:nvSpPr>
            <p:spPr>
              <a:xfrm>
                <a:off x="1964890" y="3238061"/>
                <a:ext cx="83784" cy="20715"/>
              </a:xfrm>
              <a:custGeom>
                <a:avLst/>
                <a:gdLst>
                  <a:gd name="connsiteX0" fmla="*/ 41982 w 83784"/>
                  <a:gd name="connsiteY0" fmla="*/ 20715 h 20715"/>
                  <a:gd name="connsiteX1" fmla="*/ 2599 w 83784"/>
                  <a:gd name="connsiteY1" fmla="*/ 9974 h 20715"/>
                  <a:gd name="connsiteX2" fmla="*/ 773 w 83784"/>
                  <a:gd name="connsiteY2" fmla="*/ 2599 h 20715"/>
                  <a:gd name="connsiteX3" fmla="*/ 8148 w 83784"/>
                  <a:gd name="connsiteY3" fmla="*/ 773 h 20715"/>
                  <a:gd name="connsiteX4" fmla="*/ 75636 w 83784"/>
                  <a:gd name="connsiteY4" fmla="*/ 773 h 20715"/>
                  <a:gd name="connsiteX5" fmla="*/ 83012 w 83784"/>
                  <a:gd name="connsiteY5" fmla="*/ 2599 h 20715"/>
                  <a:gd name="connsiteX6" fmla="*/ 81186 w 83784"/>
                  <a:gd name="connsiteY6" fmla="*/ 9974 h 20715"/>
                  <a:gd name="connsiteX7" fmla="*/ 41982 w 83784"/>
                  <a:gd name="connsiteY7" fmla="*/ 20715 h 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784" h="20715">
                    <a:moveTo>
                      <a:pt x="41982" y="20715"/>
                    </a:moveTo>
                    <a:cubicBezTo>
                      <a:pt x="28121" y="20789"/>
                      <a:pt x="14503" y="17075"/>
                      <a:pt x="2599" y="9974"/>
                    </a:cubicBezTo>
                    <a:cubicBezTo>
                      <a:pt x="58" y="8442"/>
                      <a:pt x="-760" y="5140"/>
                      <a:pt x="773" y="2599"/>
                    </a:cubicBezTo>
                    <a:cubicBezTo>
                      <a:pt x="2305" y="58"/>
                      <a:pt x="5607" y="-760"/>
                      <a:pt x="8148" y="773"/>
                    </a:cubicBezTo>
                    <a:cubicBezTo>
                      <a:pt x="28916" y="13242"/>
                      <a:pt x="54868" y="13242"/>
                      <a:pt x="75636" y="773"/>
                    </a:cubicBezTo>
                    <a:cubicBezTo>
                      <a:pt x="78177" y="-760"/>
                      <a:pt x="81479" y="58"/>
                      <a:pt x="83012" y="2599"/>
                    </a:cubicBezTo>
                    <a:cubicBezTo>
                      <a:pt x="84544" y="5140"/>
                      <a:pt x="83727" y="8442"/>
                      <a:pt x="81186" y="9974"/>
                    </a:cubicBezTo>
                    <a:cubicBezTo>
                      <a:pt x="69333" y="17042"/>
                      <a:pt x="55782" y="20755"/>
                      <a:pt x="41982" y="20715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4" name="Рисунок 61">
                <a:extLst>
                  <a:ext uri="{FF2B5EF4-FFF2-40B4-BE49-F238E27FC236}">
                    <a16:creationId xmlns:a16="http://schemas.microsoft.com/office/drawing/2014/main" id="{478114CF-3B7A-4111-BE0A-783CFEDB2F98}"/>
                  </a:ext>
                </a:extLst>
              </p:cNvPr>
              <p:cNvSpPr/>
              <p:nvPr/>
            </p:nvSpPr>
            <p:spPr>
              <a:xfrm>
                <a:off x="1971856" y="3146498"/>
                <a:ext cx="70495" cy="8632"/>
              </a:xfrm>
              <a:custGeom>
                <a:avLst/>
                <a:gdLst>
                  <a:gd name="connsiteX0" fmla="*/ 0 w 70495"/>
                  <a:gd name="connsiteY0" fmla="*/ 2148 h 8632"/>
                  <a:gd name="connsiteX1" fmla="*/ 43679 w 70495"/>
                  <a:gd name="connsiteY1" fmla="*/ 0 h 8632"/>
                  <a:gd name="connsiteX2" fmla="*/ 70496 w 70495"/>
                  <a:gd name="connsiteY2" fmla="*/ 1396 h 8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495" h="8632">
                    <a:moveTo>
                      <a:pt x="0" y="2148"/>
                    </a:moveTo>
                    <a:cubicBezTo>
                      <a:pt x="20372" y="17901"/>
                      <a:pt x="43679" y="0"/>
                      <a:pt x="43679" y="0"/>
                    </a:cubicBezTo>
                    <a:cubicBezTo>
                      <a:pt x="43679" y="0"/>
                      <a:pt x="59039" y="16684"/>
                      <a:pt x="70496" y="1396"/>
                    </a:cubicBezTo>
                  </a:path>
                </a:pathLst>
              </a:custGeom>
              <a:solidFill>
                <a:srgbClr val="FFFFFF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Рисунок 61">
                <a:extLst>
                  <a:ext uri="{FF2B5EF4-FFF2-40B4-BE49-F238E27FC236}">
                    <a16:creationId xmlns:a16="http://schemas.microsoft.com/office/drawing/2014/main" id="{36823691-AA10-409B-9D8D-4B23F95E0AD5}"/>
                  </a:ext>
                </a:extLst>
              </p:cNvPr>
              <p:cNvSpPr/>
              <p:nvPr/>
            </p:nvSpPr>
            <p:spPr>
              <a:xfrm>
                <a:off x="1966485" y="3141077"/>
                <a:ext cx="81202" cy="19385"/>
              </a:xfrm>
              <a:custGeom>
                <a:avLst/>
                <a:gdLst>
                  <a:gd name="connsiteX0" fmla="*/ 24096 w 81202"/>
                  <a:gd name="connsiteY0" fmla="*/ 19384 h 19385"/>
                  <a:gd name="connsiteX1" fmla="*/ 2078 w 81202"/>
                  <a:gd name="connsiteY1" fmla="*/ 11830 h 19385"/>
                  <a:gd name="connsiteX2" fmla="*/ 1129 w 81202"/>
                  <a:gd name="connsiteY2" fmla="*/ 4294 h 19385"/>
                  <a:gd name="connsiteX3" fmla="*/ 8665 w 81202"/>
                  <a:gd name="connsiteY3" fmla="*/ 3345 h 19385"/>
                  <a:gd name="connsiteX4" fmla="*/ 45793 w 81202"/>
                  <a:gd name="connsiteY4" fmla="*/ 1089 h 19385"/>
                  <a:gd name="connsiteX5" fmla="*/ 52953 w 81202"/>
                  <a:gd name="connsiteY5" fmla="*/ 1698 h 19385"/>
                  <a:gd name="connsiteX6" fmla="*/ 64876 w 81202"/>
                  <a:gd name="connsiteY6" fmla="*/ 7820 h 19385"/>
                  <a:gd name="connsiteX7" fmla="*/ 71535 w 81202"/>
                  <a:gd name="connsiteY7" fmla="*/ 3524 h 19385"/>
                  <a:gd name="connsiteX8" fmla="*/ 79054 w 81202"/>
                  <a:gd name="connsiteY8" fmla="*/ 2450 h 19385"/>
                  <a:gd name="connsiteX9" fmla="*/ 80128 w 81202"/>
                  <a:gd name="connsiteY9" fmla="*/ 9968 h 19385"/>
                  <a:gd name="connsiteX10" fmla="*/ 65377 w 81202"/>
                  <a:gd name="connsiteY10" fmla="*/ 18561 h 19385"/>
                  <a:gd name="connsiteX11" fmla="*/ 48514 w 81202"/>
                  <a:gd name="connsiteY11" fmla="*/ 12188 h 19385"/>
                  <a:gd name="connsiteX12" fmla="*/ 24096 w 81202"/>
                  <a:gd name="connsiteY12" fmla="*/ 19384 h 19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1202" h="19385">
                    <a:moveTo>
                      <a:pt x="24096" y="19384"/>
                    </a:moveTo>
                    <a:cubicBezTo>
                      <a:pt x="16111" y="19445"/>
                      <a:pt x="8344" y="16780"/>
                      <a:pt x="2078" y="11830"/>
                    </a:cubicBezTo>
                    <a:cubicBezTo>
                      <a:pt x="-266" y="10011"/>
                      <a:pt x="-690" y="6637"/>
                      <a:pt x="1129" y="4294"/>
                    </a:cubicBezTo>
                    <a:cubicBezTo>
                      <a:pt x="2948" y="1950"/>
                      <a:pt x="6322" y="1526"/>
                      <a:pt x="8665" y="3345"/>
                    </a:cubicBezTo>
                    <a:cubicBezTo>
                      <a:pt x="25278" y="16377"/>
                      <a:pt x="44969" y="1841"/>
                      <a:pt x="45793" y="1089"/>
                    </a:cubicBezTo>
                    <a:cubicBezTo>
                      <a:pt x="47984" y="-570"/>
                      <a:pt x="51074" y="-307"/>
                      <a:pt x="52953" y="1698"/>
                    </a:cubicBezTo>
                    <a:cubicBezTo>
                      <a:pt x="54600" y="3488"/>
                      <a:pt x="59935" y="8107"/>
                      <a:pt x="64876" y="7820"/>
                    </a:cubicBezTo>
                    <a:cubicBezTo>
                      <a:pt x="67636" y="7481"/>
                      <a:pt x="70089" y="5899"/>
                      <a:pt x="71535" y="3524"/>
                    </a:cubicBezTo>
                    <a:cubicBezTo>
                      <a:pt x="73315" y="1151"/>
                      <a:pt x="76681" y="670"/>
                      <a:pt x="79054" y="2450"/>
                    </a:cubicBezTo>
                    <a:cubicBezTo>
                      <a:pt x="81426" y="4229"/>
                      <a:pt x="81907" y="7596"/>
                      <a:pt x="80128" y="9968"/>
                    </a:cubicBezTo>
                    <a:cubicBezTo>
                      <a:pt x="76798" y="14953"/>
                      <a:pt x="71356" y="18124"/>
                      <a:pt x="65377" y="18561"/>
                    </a:cubicBezTo>
                    <a:cubicBezTo>
                      <a:pt x="59177" y="18507"/>
                      <a:pt x="53200" y="16248"/>
                      <a:pt x="48514" y="12188"/>
                    </a:cubicBezTo>
                    <a:cubicBezTo>
                      <a:pt x="41159" y="16714"/>
                      <a:pt x="32731" y="19199"/>
                      <a:pt x="24096" y="19384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37338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8" name="Объект 207" hidden="1">
            <a:extLst>
              <a:ext uri="{FF2B5EF4-FFF2-40B4-BE49-F238E27FC236}">
                <a16:creationId xmlns:a16="http://schemas.microsoft.com/office/drawing/2014/main" id="{A4A71C4E-A61F-7F4E-865C-33834CF35E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08" name="Объект 207" hidden="1">
                        <a:extLst>
                          <a:ext uri="{FF2B5EF4-FFF2-40B4-BE49-F238E27FC236}">
                            <a16:creationId xmlns:a16="http://schemas.microsoft.com/office/drawing/2014/main" id="{A4A71C4E-A61F-7F4E-865C-33834CF35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2" name="Заголовок 191">
            <a:extLst>
              <a:ext uri="{FF2B5EF4-FFF2-40B4-BE49-F238E27FC236}">
                <a16:creationId xmlns:a16="http://schemas.microsoft.com/office/drawing/2014/main" id="{582A4DED-367C-3342-BBEF-01E3FF4EA4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332399"/>
          </a:xfrm>
        </p:spPr>
        <p:txBody>
          <a:bodyPr vert="horz"/>
          <a:lstStyle/>
          <a:p>
            <a:r>
              <a:rPr lang="ru-RU" dirty="0" smtClean="0"/>
              <a:t>Контингент</a:t>
            </a:r>
            <a:endParaRPr lang="ru-RU" dirty="0"/>
          </a:p>
        </p:txBody>
      </p:sp>
      <p:sp>
        <p:nvSpPr>
          <p:cNvPr id="220" name="Текст 219">
            <a:extLst>
              <a:ext uri="{FF2B5EF4-FFF2-40B4-BE49-F238E27FC236}">
                <a16:creationId xmlns:a16="http://schemas.microsoft.com/office/drawing/2014/main" id="{0D6AABA6-86D7-D740-8C1F-3A5026D331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53" name="Заголовок 1">
            <a:extLst>
              <a:ext uri="{FF2B5EF4-FFF2-40B4-BE49-F238E27FC236}">
                <a16:creationId xmlns:a16="http://schemas.microsoft.com/office/drawing/2014/main" id="{B314C663-A55C-174D-AA44-461BB971659B}"/>
              </a:ext>
            </a:extLst>
          </p:cNvPr>
          <p:cNvSpPr txBox="1">
            <a:spLocks/>
          </p:cNvSpPr>
          <p:nvPr/>
        </p:nvSpPr>
        <p:spPr>
          <a:xfrm>
            <a:off x="808906" y="402822"/>
            <a:ext cx="9072846" cy="6858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grpSp>
        <p:nvGrpSpPr>
          <p:cNvPr id="413" name="Группа 412">
            <a:extLst>
              <a:ext uri="{FF2B5EF4-FFF2-40B4-BE49-F238E27FC236}">
                <a16:creationId xmlns:a16="http://schemas.microsoft.com/office/drawing/2014/main" id="{45317F29-0188-41AD-A835-9141E987D50C}"/>
              </a:ext>
            </a:extLst>
          </p:cNvPr>
          <p:cNvGrpSpPr/>
          <p:nvPr/>
        </p:nvGrpSpPr>
        <p:grpSpPr>
          <a:xfrm>
            <a:off x="0" y="3600972"/>
            <a:ext cx="12192000" cy="360734"/>
            <a:chOff x="0" y="3600972"/>
            <a:chExt cx="12192000" cy="360734"/>
          </a:xfrm>
        </p:grpSpPr>
        <p:cxnSp>
          <p:nvCxnSpPr>
            <p:cNvPr id="414" name="Прямая соединительная линия 413">
              <a:extLst>
                <a:ext uri="{FF2B5EF4-FFF2-40B4-BE49-F238E27FC236}">
                  <a16:creationId xmlns:a16="http://schemas.microsoft.com/office/drawing/2014/main" id="{000AD041-5B4D-407D-B819-B74B2A4D6DB2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790149"/>
              <a:ext cx="12192000" cy="0"/>
            </a:xfrm>
            <a:prstGeom prst="line">
              <a:avLst/>
            </a:prstGeom>
            <a:noFill/>
            <a:ln w="44450" cap="flat" cmpd="sng" algn="ctr">
              <a:solidFill>
                <a:srgbClr val="CD441F"/>
              </a:solidFill>
              <a:prstDash val="solid"/>
              <a:miter lim="800000"/>
            </a:ln>
            <a:effectLst/>
          </p:spPr>
        </p:cxnSp>
        <p:grpSp>
          <p:nvGrpSpPr>
            <p:cNvPr id="415" name="Группа 52">
              <a:extLst>
                <a:ext uri="{FF2B5EF4-FFF2-40B4-BE49-F238E27FC236}">
                  <a16:creationId xmlns:a16="http://schemas.microsoft.com/office/drawing/2014/main" id="{D5A1D307-2E34-42DD-8FAC-BFB5BFF294FC}"/>
                </a:ext>
              </a:extLst>
            </p:cNvPr>
            <p:cNvGrpSpPr/>
            <p:nvPr/>
          </p:nvGrpSpPr>
          <p:grpSpPr>
            <a:xfrm>
              <a:off x="60961" y="3600972"/>
              <a:ext cx="12070080" cy="70989"/>
              <a:chOff x="850899" y="1585732"/>
              <a:chExt cx="14047789" cy="879675"/>
            </a:xfrm>
          </p:grpSpPr>
          <p:cxnSp>
            <p:nvCxnSpPr>
              <p:cNvPr id="490" name="Прямая соединительная линия 64">
                <a:extLst>
                  <a:ext uri="{FF2B5EF4-FFF2-40B4-BE49-F238E27FC236}">
                    <a16:creationId xmlns:a16="http://schemas.microsoft.com/office/drawing/2014/main" id="{0E2A1DDD-6261-4B6C-925B-47BE0AE2214A}"/>
                  </a:ext>
                </a:extLst>
              </p:cNvPr>
              <p:cNvCxnSpPr/>
              <p:nvPr/>
            </p:nvCxnSpPr>
            <p:spPr>
              <a:xfrm>
                <a:off x="85089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1" name="Прямая соединительная линия 65">
                <a:extLst>
                  <a:ext uri="{FF2B5EF4-FFF2-40B4-BE49-F238E27FC236}">
                    <a16:creationId xmlns:a16="http://schemas.microsoft.com/office/drawing/2014/main" id="{537AA67F-F1B3-4E9C-9B46-EC90F373A9D9}"/>
                  </a:ext>
                </a:extLst>
              </p:cNvPr>
              <p:cNvCxnSpPr/>
              <p:nvPr/>
            </p:nvCxnSpPr>
            <p:spPr>
              <a:xfrm>
                <a:off x="104875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2" name="Прямая соединительная линия 66">
                <a:extLst>
                  <a:ext uri="{FF2B5EF4-FFF2-40B4-BE49-F238E27FC236}">
                    <a16:creationId xmlns:a16="http://schemas.microsoft.com/office/drawing/2014/main" id="{D98E50E5-2CE8-4B7A-B7BD-34A1FDE2107C}"/>
                  </a:ext>
                </a:extLst>
              </p:cNvPr>
              <p:cNvCxnSpPr/>
              <p:nvPr/>
            </p:nvCxnSpPr>
            <p:spPr>
              <a:xfrm>
                <a:off x="124661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3" name="Прямая соединительная линия 67">
                <a:extLst>
                  <a:ext uri="{FF2B5EF4-FFF2-40B4-BE49-F238E27FC236}">
                    <a16:creationId xmlns:a16="http://schemas.microsoft.com/office/drawing/2014/main" id="{29357B39-3A1E-42EA-983D-02FA079687E7}"/>
                  </a:ext>
                </a:extLst>
              </p:cNvPr>
              <p:cNvCxnSpPr/>
              <p:nvPr/>
            </p:nvCxnSpPr>
            <p:spPr>
              <a:xfrm>
                <a:off x="144446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4" name="Прямая соединительная линия 69">
                <a:extLst>
                  <a:ext uri="{FF2B5EF4-FFF2-40B4-BE49-F238E27FC236}">
                    <a16:creationId xmlns:a16="http://schemas.microsoft.com/office/drawing/2014/main" id="{A42DF45A-288F-4794-BD8E-FFAEB9037CF2}"/>
                  </a:ext>
                </a:extLst>
              </p:cNvPr>
              <p:cNvCxnSpPr/>
              <p:nvPr/>
            </p:nvCxnSpPr>
            <p:spPr>
              <a:xfrm>
                <a:off x="164232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5" name="Прямая соединительная линия 70">
                <a:extLst>
                  <a:ext uri="{FF2B5EF4-FFF2-40B4-BE49-F238E27FC236}">
                    <a16:creationId xmlns:a16="http://schemas.microsoft.com/office/drawing/2014/main" id="{0FA8B131-5454-41DD-B234-DA6B5390137D}"/>
                  </a:ext>
                </a:extLst>
              </p:cNvPr>
              <p:cNvCxnSpPr/>
              <p:nvPr/>
            </p:nvCxnSpPr>
            <p:spPr>
              <a:xfrm>
                <a:off x="184017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6" name="Прямая соединительная линия 71">
                <a:extLst>
                  <a:ext uri="{FF2B5EF4-FFF2-40B4-BE49-F238E27FC236}">
                    <a16:creationId xmlns:a16="http://schemas.microsoft.com/office/drawing/2014/main" id="{ADF993FB-9250-4422-8196-7FD8B3682CF3}"/>
                  </a:ext>
                </a:extLst>
              </p:cNvPr>
              <p:cNvCxnSpPr/>
              <p:nvPr/>
            </p:nvCxnSpPr>
            <p:spPr>
              <a:xfrm>
                <a:off x="203803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7" name="Прямая соединительная линия 72">
                <a:extLst>
                  <a:ext uri="{FF2B5EF4-FFF2-40B4-BE49-F238E27FC236}">
                    <a16:creationId xmlns:a16="http://schemas.microsoft.com/office/drawing/2014/main" id="{6FB726FD-CEBC-4937-B6D4-5FB5F22D4CDA}"/>
                  </a:ext>
                </a:extLst>
              </p:cNvPr>
              <p:cNvCxnSpPr/>
              <p:nvPr/>
            </p:nvCxnSpPr>
            <p:spPr>
              <a:xfrm>
                <a:off x="223589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8" name="Прямая соединительная линия 73">
                <a:extLst>
                  <a:ext uri="{FF2B5EF4-FFF2-40B4-BE49-F238E27FC236}">
                    <a16:creationId xmlns:a16="http://schemas.microsoft.com/office/drawing/2014/main" id="{53AE77C4-1997-4C2F-B3F5-98C18C7C7D72}"/>
                  </a:ext>
                </a:extLst>
              </p:cNvPr>
              <p:cNvCxnSpPr/>
              <p:nvPr/>
            </p:nvCxnSpPr>
            <p:spPr>
              <a:xfrm>
                <a:off x="243374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99" name="Прямая соединительная линия 74">
                <a:extLst>
                  <a:ext uri="{FF2B5EF4-FFF2-40B4-BE49-F238E27FC236}">
                    <a16:creationId xmlns:a16="http://schemas.microsoft.com/office/drawing/2014/main" id="{19F018A3-BEAA-4151-970D-32C4C0FF6ADF}"/>
                  </a:ext>
                </a:extLst>
              </p:cNvPr>
              <p:cNvCxnSpPr/>
              <p:nvPr/>
            </p:nvCxnSpPr>
            <p:spPr>
              <a:xfrm>
                <a:off x="263160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0" name="Прямая соединительная линия 75">
                <a:extLst>
                  <a:ext uri="{FF2B5EF4-FFF2-40B4-BE49-F238E27FC236}">
                    <a16:creationId xmlns:a16="http://schemas.microsoft.com/office/drawing/2014/main" id="{92C93B3F-9D78-4FF5-B268-F4C2FFFF9A25}"/>
                  </a:ext>
                </a:extLst>
              </p:cNvPr>
              <p:cNvCxnSpPr/>
              <p:nvPr/>
            </p:nvCxnSpPr>
            <p:spPr>
              <a:xfrm>
                <a:off x="282945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1" name="Прямая соединительная линия 76">
                <a:extLst>
                  <a:ext uri="{FF2B5EF4-FFF2-40B4-BE49-F238E27FC236}">
                    <a16:creationId xmlns:a16="http://schemas.microsoft.com/office/drawing/2014/main" id="{4AE2BAC1-1747-4173-9E78-98383C601366}"/>
                  </a:ext>
                </a:extLst>
              </p:cNvPr>
              <p:cNvCxnSpPr/>
              <p:nvPr/>
            </p:nvCxnSpPr>
            <p:spPr>
              <a:xfrm>
                <a:off x="302731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2" name="Прямая соединительная линия 77">
                <a:extLst>
                  <a:ext uri="{FF2B5EF4-FFF2-40B4-BE49-F238E27FC236}">
                    <a16:creationId xmlns:a16="http://schemas.microsoft.com/office/drawing/2014/main" id="{7569F1B8-E388-4770-B94D-AD798856A877}"/>
                  </a:ext>
                </a:extLst>
              </p:cNvPr>
              <p:cNvCxnSpPr/>
              <p:nvPr/>
            </p:nvCxnSpPr>
            <p:spPr>
              <a:xfrm>
                <a:off x="322517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3" name="Прямая соединительная линия 78">
                <a:extLst>
                  <a:ext uri="{FF2B5EF4-FFF2-40B4-BE49-F238E27FC236}">
                    <a16:creationId xmlns:a16="http://schemas.microsoft.com/office/drawing/2014/main" id="{0E6D5277-76B5-4861-9636-4E7DE0D73E6E}"/>
                  </a:ext>
                </a:extLst>
              </p:cNvPr>
              <p:cNvCxnSpPr/>
              <p:nvPr/>
            </p:nvCxnSpPr>
            <p:spPr>
              <a:xfrm>
                <a:off x="342302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4" name="Прямая соединительная линия 79">
                <a:extLst>
                  <a:ext uri="{FF2B5EF4-FFF2-40B4-BE49-F238E27FC236}">
                    <a16:creationId xmlns:a16="http://schemas.microsoft.com/office/drawing/2014/main" id="{769A46AF-B63C-423D-8D51-3B1D8A5056ED}"/>
                  </a:ext>
                </a:extLst>
              </p:cNvPr>
              <p:cNvCxnSpPr/>
              <p:nvPr/>
            </p:nvCxnSpPr>
            <p:spPr>
              <a:xfrm>
                <a:off x="362088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5" name="Прямая соединительная линия 80">
                <a:extLst>
                  <a:ext uri="{FF2B5EF4-FFF2-40B4-BE49-F238E27FC236}">
                    <a16:creationId xmlns:a16="http://schemas.microsoft.com/office/drawing/2014/main" id="{CE0B1C1A-5B94-43B7-AEB3-55F5FA79D387}"/>
                  </a:ext>
                </a:extLst>
              </p:cNvPr>
              <p:cNvCxnSpPr/>
              <p:nvPr/>
            </p:nvCxnSpPr>
            <p:spPr>
              <a:xfrm>
                <a:off x="381873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6" name="Прямая соединительная линия 81">
                <a:extLst>
                  <a:ext uri="{FF2B5EF4-FFF2-40B4-BE49-F238E27FC236}">
                    <a16:creationId xmlns:a16="http://schemas.microsoft.com/office/drawing/2014/main" id="{1F648D8D-273B-48EA-856A-E3FC0B007719}"/>
                  </a:ext>
                </a:extLst>
              </p:cNvPr>
              <p:cNvCxnSpPr/>
              <p:nvPr/>
            </p:nvCxnSpPr>
            <p:spPr>
              <a:xfrm>
                <a:off x="401659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7" name="Прямая соединительная линия 82">
                <a:extLst>
                  <a:ext uri="{FF2B5EF4-FFF2-40B4-BE49-F238E27FC236}">
                    <a16:creationId xmlns:a16="http://schemas.microsoft.com/office/drawing/2014/main" id="{A91D5A36-64E1-47D0-A84C-9CA3F0D84F8A}"/>
                  </a:ext>
                </a:extLst>
              </p:cNvPr>
              <p:cNvCxnSpPr/>
              <p:nvPr/>
            </p:nvCxnSpPr>
            <p:spPr>
              <a:xfrm>
                <a:off x="421445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8" name="Прямая соединительная линия 83">
                <a:extLst>
                  <a:ext uri="{FF2B5EF4-FFF2-40B4-BE49-F238E27FC236}">
                    <a16:creationId xmlns:a16="http://schemas.microsoft.com/office/drawing/2014/main" id="{F4AA4404-0BCC-4E55-BB04-2A524021E5D0}"/>
                  </a:ext>
                </a:extLst>
              </p:cNvPr>
              <p:cNvCxnSpPr/>
              <p:nvPr/>
            </p:nvCxnSpPr>
            <p:spPr>
              <a:xfrm>
                <a:off x="441230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09" name="Прямая соединительная линия 84">
                <a:extLst>
                  <a:ext uri="{FF2B5EF4-FFF2-40B4-BE49-F238E27FC236}">
                    <a16:creationId xmlns:a16="http://schemas.microsoft.com/office/drawing/2014/main" id="{73169212-CFCB-4698-91E7-E64A2465D09D}"/>
                  </a:ext>
                </a:extLst>
              </p:cNvPr>
              <p:cNvCxnSpPr/>
              <p:nvPr/>
            </p:nvCxnSpPr>
            <p:spPr>
              <a:xfrm>
                <a:off x="461016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0" name="Прямая соединительная линия 85">
                <a:extLst>
                  <a:ext uri="{FF2B5EF4-FFF2-40B4-BE49-F238E27FC236}">
                    <a16:creationId xmlns:a16="http://schemas.microsoft.com/office/drawing/2014/main" id="{BA659FCF-9ED7-4C0D-8D05-993D92F36080}"/>
                  </a:ext>
                </a:extLst>
              </p:cNvPr>
              <p:cNvCxnSpPr/>
              <p:nvPr/>
            </p:nvCxnSpPr>
            <p:spPr>
              <a:xfrm>
                <a:off x="480801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1" name="Прямая соединительная линия 86">
                <a:extLst>
                  <a:ext uri="{FF2B5EF4-FFF2-40B4-BE49-F238E27FC236}">
                    <a16:creationId xmlns:a16="http://schemas.microsoft.com/office/drawing/2014/main" id="{80F989D3-84C4-44DF-95B3-59B872C31766}"/>
                  </a:ext>
                </a:extLst>
              </p:cNvPr>
              <p:cNvCxnSpPr/>
              <p:nvPr/>
            </p:nvCxnSpPr>
            <p:spPr>
              <a:xfrm>
                <a:off x="500587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2" name="Прямая соединительная линия 87">
                <a:extLst>
                  <a:ext uri="{FF2B5EF4-FFF2-40B4-BE49-F238E27FC236}">
                    <a16:creationId xmlns:a16="http://schemas.microsoft.com/office/drawing/2014/main" id="{942C4D04-F831-40FB-A517-E0BBD992FAD5}"/>
                  </a:ext>
                </a:extLst>
              </p:cNvPr>
              <p:cNvCxnSpPr/>
              <p:nvPr/>
            </p:nvCxnSpPr>
            <p:spPr>
              <a:xfrm>
                <a:off x="520373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3" name="Прямая соединительная линия 88">
                <a:extLst>
                  <a:ext uri="{FF2B5EF4-FFF2-40B4-BE49-F238E27FC236}">
                    <a16:creationId xmlns:a16="http://schemas.microsoft.com/office/drawing/2014/main" id="{306C07FC-8A07-43CA-9D88-D0304C15E6AE}"/>
                  </a:ext>
                </a:extLst>
              </p:cNvPr>
              <p:cNvCxnSpPr/>
              <p:nvPr/>
            </p:nvCxnSpPr>
            <p:spPr>
              <a:xfrm>
                <a:off x="540158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4" name="Прямая соединительная линия 89">
                <a:extLst>
                  <a:ext uri="{FF2B5EF4-FFF2-40B4-BE49-F238E27FC236}">
                    <a16:creationId xmlns:a16="http://schemas.microsoft.com/office/drawing/2014/main" id="{3732CC18-12AD-4B30-AD77-F6856616EECA}"/>
                  </a:ext>
                </a:extLst>
              </p:cNvPr>
              <p:cNvCxnSpPr/>
              <p:nvPr/>
            </p:nvCxnSpPr>
            <p:spPr>
              <a:xfrm>
                <a:off x="559944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5" name="Прямая соединительная линия 90">
                <a:extLst>
                  <a:ext uri="{FF2B5EF4-FFF2-40B4-BE49-F238E27FC236}">
                    <a16:creationId xmlns:a16="http://schemas.microsoft.com/office/drawing/2014/main" id="{E1BD8AFD-5B3D-472C-9690-B739A8DE457E}"/>
                  </a:ext>
                </a:extLst>
              </p:cNvPr>
              <p:cNvCxnSpPr/>
              <p:nvPr/>
            </p:nvCxnSpPr>
            <p:spPr>
              <a:xfrm>
                <a:off x="579729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6" name="Прямая соединительная линия 91">
                <a:extLst>
                  <a:ext uri="{FF2B5EF4-FFF2-40B4-BE49-F238E27FC236}">
                    <a16:creationId xmlns:a16="http://schemas.microsoft.com/office/drawing/2014/main" id="{205E7CDC-DC22-4A77-AC2E-FEEF7FAD6FC8}"/>
                  </a:ext>
                </a:extLst>
              </p:cNvPr>
              <p:cNvCxnSpPr/>
              <p:nvPr/>
            </p:nvCxnSpPr>
            <p:spPr>
              <a:xfrm>
                <a:off x="599515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7" name="Прямая соединительная линия 92">
                <a:extLst>
                  <a:ext uri="{FF2B5EF4-FFF2-40B4-BE49-F238E27FC236}">
                    <a16:creationId xmlns:a16="http://schemas.microsoft.com/office/drawing/2014/main" id="{05110EDD-B225-4A66-B2D4-5350877718B9}"/>
                  </a:ext>
                </a:extLst>
              </p:cNvPr>
              <p:cNvCxnSpPr/>
              <p:nvPr/>
            </p:nvCxnSpPr>
            <p:spPr>
              <a:xfrm>
                <a:off x="619301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8" name="Прямая соединительная линия 93">
                <a:extLst>
                  <a:ext uri="{FF2B5EF4-FFF2-40B4-BE49-F238E27FC236}">
                    <a16:creationId xmlns:a16="http://schemas.microsoft.com/office/drawing/2014/main" id="{BBC1F8AC-9B0D-47DE-8564-A38379EE33ED}"/>
                  </a:ext>
                </a:extLst>
              </p:cNvPr>
              <p:cNvCxnSpPr/>
              <p:nvPr/>
            </p:nvCxnSpPr>
            <p:spPr>
              <a:xfrm>
                <a:off x="639086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19" name="Прямая соединительная линия 94">
                <a:extLst>
                  <a:ext uri="{FF2B5EF4-FFF2-40B4-BE49-F238E27FC236}">
                    <a16:creationId xmlns:a16="http://schemas.microsoft.com/office/drawing/2014/main" id="{EF94AAD3-FF12-42E5-8774-2BC99D3C5173}"/>
                  </a:ext>
                </a:extLst>
              </p:cNvPr>
              <p:cNvCxnSpPr/>
              <p:nvPr/>
            </p:nvCxnSpPr>
            <p:spPr>
              <a:xfrm>
                <a:off x="658872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0" name="Прямая соединительная линия 95">
                <a:extLst>
                  <a:ext uri="{FF2B5EF4-FFF2-40B4-BE49-F238E27FC236}">
                    <a16:creationId xmlns:a16="http://schemas.microsoft.com/office/drawing/2014/main" id="{03F6278F-EB3D-41DC-B3D3-A47F3A4D5C15}"/>
                  </a:ext>
                </a:extLst>
              </p:cNvPr>
              <p:cNvCxnSpPr/>
              <p:nvPr/>
            </p:nvCxnSpPr>
            <p:spPr>
              <a:xfrm>
                <a:off x="678657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1" name="Прямая соединительная линия 96">
                <a:extLst>
                  <a:ext uri="{FF2B5EF4-FFF2-40B4-BE49-F238E27FC236}">
                    <a16:creationId xmlns:a16="http://schemas.microsoft.com/office/drawing/2014/main" id="{FF3B3A67-3052-42BC-A44A-EF2758E23C51}"/>
                  </a:ext>
                </a:extLst>
              </p:cNvPr>
              <p:cNvCxnSpPr/>
              <p:nvPr/>
            </p:nvCxnSpPr>
            <p:spPr>
              <a:xfrm>
                <a:off x="698443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2" name="Прямая соединительная линия 97">
                <a:extLst>
                  <a:ext uri="{FF2B5EF4-FFF2-40B4-BE49-F238E27FC236}">
                    <a16:creationId xmlns:a16="http://schemas.microsoft.com/office/drawing/2014/main" id="{A86557E3-FA0C-40C1-A81A-1053FCB344FF}"/>
                  </a:ext>
                </a:extLst>
              </p:cNvPr>
              <p:cNvCxnSpPr/>
              <p:nvPr/>
            </p:nvCxnSpPr>
            <p:spPr>
              <a:xfrm>
                <a:off x="718229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3" name="Прямая соединительная линия 98">
                <a:extLst>
                  <a:ext uri="{FF2B5EF4-FFF2-40B4-BE49-F238E27FC236}">
                    <a16:creationId xmlns:a16="http://schemas.microsoft.com/office/drawing/2014/main" id="{1984E14B-836E-4F97-8745-DFC653D3C10D}"/>
                  </a:ext>
                </a:extLst>
              </p:cNvPr>
              <p:cNvCxnSpPr/>
              <p:nvPr/>
            </p:nvCxnSpPr>
            <p:spPr>
              <a:xfrm>
                <a:off x="738014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4" name="Прямая соединительная линия 99">
                <a:extLst>
                  <a:ext uri="{FF2B5EF4-FFF2-40B4-BE49-F238E27FC236}">
                    <a16:creationId xmlns:a16="http://schemas.microsoft.com/office/drawing/2014/main" id="{EFFFFFE0-3A90-451E-8681-0494437B3E4D}"/>
                  </a:ext>
                </a:extLst>
              </p:cNvPr>
              <p:cNvCxnSpPr/>
              <p:nvPr/>
            </p:nvCxnSpPr>
            <p:spPr>
              <a:xfrm>
                <a:off x="757800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5" name="Прямая соединительная линия 100">
                <a:extLst>
                  <a:ext uri="{FF2B5EF4-FFF2-40B4-BE49-F238E27FC236}">
                    <a16:creationId xmlns:a16="http://schemas.microsoft.com/office/drawing/2014/main" id="{508B7B7B-57A9-4DDA-88BC-86DE9C5A679C}"/>
                  </a:ext>
                </a:extLst>
              </p:cNvPr>
              <p:cNvCxnSpPr/>
              <p:nvPr/>
            </p:nvCxnSpPr>
            <p:spPr>
              <a:xfrm>
                <a:off x="777585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6" name="Прямая соединительная линия 101">
                <a:extLst>
                  <a:ext uri="{FF2B5EF4-FFF2-40B4-BE49-F238E27FC236}">
                    <a16:creationId xmlns:a16="http://schemas.microsoft.com/office/drawing/2014/main" id="{DB85727B-AE7C-4BC1-8DAB-7D21B069BE04}"/>
                  </a:ext>
                </a:extLst>
              </p:cNvPr>
              <p:cNvCxnSpPr/>
              <p:nvPr/>
            </p:nvCxnSpPr>
            <p:spPr>
              <a:xfrm>
                <a:off x="797371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7" name="Прямая соединительная линия 102">
                <a:extLst>
                  <a:ext uri="{FF2B5EF4-FFF2-40B4-BE49-F238E27FC236}">
                    <a16:creationId xmlns:a16="http://schemas.microsoft.com/office/drawing/2014/main" id="{3AB28937-0AA3-46D3-8E31-8F62568AACC2}"/>
                  </a:ext>
                </a:extLst>
              </p:cNvPr>
              <p:cNvCxnSpPr/>
              <p:nvPr/>
            </p:nvCxnSpPr>
            <p:spPr>
              <a:xfrm>
                <a:off x="817157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8" name="Прямая соединительная линия 103">
                <a:extLst>
                  <a:ext uri="{FF2B5EF4-FFF2-40B4-BE49-F238E27FC236}">
                    <a16:creationId xmlns:a16="http://schemas.microsoft.com/office/drawing/2014/main" id="{E5722450-FE1D-4E5A-B7FD-A5E109D5C63C}"/>
                  </a:ext>
                </a:extLst>
              </p:cNvPr>
              <p:cNvCxnSpPr/>
              <p:nvPr/>
            </p:nvCxnSpPr>
            <p:spPr>
              <a:xfrm>
                <a:off x="836942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29" name="Прямая соединительная линия 104">
                <a:extLst>
                  <a:ext uri="{FF2B5EF4-FFF2-40B4-BE49-F238E27FC236}">
                    <a16:creationId xmlns:a16="http://schemas.microsoft.com/office/drawing/2014/main" id="{7FF4AE58-6F81-423D-9BAC-AC8DD0158AD7}"/>
                  </a:ext>
                </a:extLst>
              </p:cNvPr>
              <p:cNvCxnSpPr/>
              <p:nvPr/>
            </p:nvCxnSpPr>
            <p:spPr>
              <a:xfrm>
                <a:off x="856728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30" name="Прямая соединительная линия 105">
                <a:extLst>
                  <a:ext uri="{FF2B5EF4-FFF2-40B4-BE49-F238E27FC236}">
                    <a16:creationId xmlns:a16="http://schemas.microsoft.com/office/drawing/2014/main" id="{15C8405A-DC8B-4A2D-BCDE-D863EA190852}"/>
                  </a:ext>
                </a:extLst>
              </p:cNvPr>
              <p:cNvCxnSpPr/>
              <p:nvPr/>
            </p:nvCxnSpPr>
            <p:spPr>
              <a:xfrm>
                <a:off x="876513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31" name="Прямая соединительная линия 106">
                <a:extLst>
                  <a:ext uri="{FF2B5EF4-FFF2-40B4-BE49-F238E27FC236}">
                    <a16:creationId xmlns:a16="http://schemas.microsoft.com/office/drawing/2014/main" id="{769F3F11-D4D6-42CD-ADE5-FDB9ACAF7761}"/>
                  </a:ext>
                </a:extLst>
              </p:cNvPr>
              <p:cNvCxnSpPr/>
              <p:nvPr/>
            </p:nvCxnSpPr>
            <p:spPr>
              <a:xfrm>
                <a:off x="896299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32" name="Прямая соединительная линия 107">
                <a:extLst>
                  <a:ext uri="{FF2B5EF4-FFF2-40B4-BE49-F238E27FC236}">
                    <a16:creationId xmlns:a16="http://schemas.microsoft.com/office/drawing/2014/main" id="{F9BB3497-BC30-4EEE-A120-0A69AEEECEF2}"/>
                  </a:ext>
                </a:extLst>
              </p:cNvPr>
              <p:cNvCxnSpPr/>
              <p:nvPr/>
            </p:nvCxnSpPr>
            <p:spPr>
              <a:xfrm>
                <a:off x="916085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33" name="Прямая соединительная линия 108">
                <a:extLst>
                  <a:ext uri="{FF2B5EF4-FFF2-40B4-BE49-F238E27FC236}">
                    <a16:creationId xmlns:a16="http://schemas.microsoft.com/office/drawing/2014/main" id="{48C947FE-FF95-4B89-87AE-3D252980785E}"/>
                  </a:ext>
                </a:extLst>
              </p:cNvPr>
              <p:cNvCxnSpPr/>
              <p:nvPr/>
            </p:nvCxnSpPr>
            <p:spPr>
              <a:xfrm>
                <a:off x="935870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34" name="Прямая соединительная линия 109">
                <a:extLst>
                  <a:ext uri="{FF2B5EF4-FFF2-40B4-BE49-F238E27FC236}">
                    <a16:creationId xmlns:a16="http://schemas.microsoft.com/office/drawing/2014/main" id="{ABA23DD1-135B-4809-A8EC-DE563A7A20DB}"/>
                  </a:ext>
                </a:extLst>
              </p:cNvPr>
              <p:cNvCxnSpPr/>
              <p:nvPr/>
            </p:nvCxnSpPr>
            <p:spPr>
              <a:xfrm>
                <a:off x="955656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35" name="Прямая соединительная линия 110">
                <a:extLst>
                  <a:ext uri="{FF2B5EF4-FFF2-40B4-BE49-F238E27FC236}">
                    <a16:creationId xmlns:a16="http://schemas.microsoft.com/office/drawing/2014/main" id="{94C93735-5483-4627-A278-CD4936016F7F}"/>
                  </a:ext>
                </a:extLst>
              </p:cNvPr>
              <p:cNvCxnSpPr/>
              <p:nvPr/>
            </p:nvCxnSpPr>
            <p:spPr>
              <a:xfrm>
                <a:off x="975441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36" name="Прямая соединительная линия 111">
                <a:extLst>
                  <a:ext uri="{FF2B5EF4-FFF2-40B4-BE49-F238E27FC236}">
                    <a16:creationId xmlns:a16="http://schemas.microsoft.com/office/drawing/2014/main" id="{D3645227-C76B-4FD5-87C8-FD9B24C49A26}"/>
                  </a:ext>
                </a:extLst>
              </p:cNvPr>
              <p:cNvCxnSpPr/>
              <p:nvPr/>
            </p:nvCxnSpPr>
            <p:spPr>
              <a:xfrm>
                <a:off x="995227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37" name="Прямая соединительная линия 112">
                <a:extLst>
                  <a:ext uri="{FF2B5EF4-FFF2-40B4-BE49-F238E27FC236}">
                    <a16:creationId xmlns:a16="http://schemas.microsoft.com/office/drawing/2014/main" id="{0362ED3A-2570-4251-8317-44E246859B7F}"/>
                  </a:ext>
                </a:extLst>
              </p:cNvPr>
              <p:cNvCxnSpPr/>
              <p:nvPr/>
            </p:nvCxnSpPr>
            <p:spPr>
              <a:xfrm>
                <a:off x="1015013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38" name="Прямая соединительная линия 113">
                <a:extLst>
                  <a:ext uri="{FF2B5EF4-FFF2-40B4-BE49-F238E27FC236}">
                    <a16:creationId xmlns:a16="http://schemas.microsoft.com/office/drawing/2014/main" id="{3D710B76-E73A-4804-AC1A-A1D7986057BA}"/>
                  </a:ext>
                </a:extLst>
              </p:cNvPr>
              <p:cNvCxnSpPr/>
              <p:nvPr/>
            </p:nvCxnSpPr>
            <p:spPr>
              <a:xfrm>
                <a:off x="1034798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39" name="Прямая соединительная линия 114">
                <a:extLst>
                  <a:ext uri="{FF2B5EF4-FFF2-40B4-BE49-F238E27FC236}">
                    <a16:creationId xmlns:a16="http://schemas.microsoft.com/office/drawing/2014/main" id="{8EFF27CC-4383-439C-AF1F-04FC01C959A5}"/>
                  </a:ext>
                </a:extLst>
              </p:cNvPr>
              <p:cNvCxnSpPr/>
              <p:nvPr/>
            </p:nvCxnSpPr>
            <p:spPr>
              <a:xfrm>
                <a:off x="1054584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40" name="Прямая соединительная линия 115">
                <a:extLst>
                  <a:ext uri="{FF2B5EF4-FFF2-40B4-BE49-F238E27FC236}">
                    <a16:creationId xmlns:a16="http://schemas.microsoft.com/office/drawing/2014/main" id="{8CE8E261-C1C3-4047-9552-B1EB5B860383}"/>
                  </a:ext>
                </a:extLst>
              </p:cNvPr>
              <p:cNvCxnSpPr/>
              <p:nvPr/>
            </p:nvCxnSpPr>
            <p:spPr>
              <a:xfrm>
                <a:off x="1074369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41" name="Прямая соединительная линия 116">
                <a:extLst>
                  <a:ext uri="{FF2B5EF4-FFF2-40B4-BE49-F238E27FC236}">
                    <a16:creationId xmlns:a16="http://schemas.microsoft.com/office/drawing/2014/main" id="{CFB7C57C-FAC1-4BCB-9A8B-D5A061DDCDAE}"/>
                  </a:ext>
                </a:extLst>
              </p:cNvPr>
              <p:cNvCxnSpPr/>
              <p:nvPr/>
            </p:nvCxnSpPr>
            <p:spPr>
              <a:xfrm>
                <a:off x="1094155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42" name="Прямая соединительная линия 117">
                <a:extLst>
                  <a:ext uri="{FF2B5EF4-FFF2-40B4-BE49-F238E27FC236}">
                    <a16:creationId xmlns:a16="http://schemas.microsoft.com/office/drawing/2014/main" id="{96FE2E16-2309-44BE-99BA-96EC58040FB4}"/>
                  </a:ext>
                </a:extLst>
              </p:cNvPr>
              <p:cNvCxnSpPr/>
              <p:nvPr/>
            </p:nvCxnSpPr>
            <p:spPr>
              <a:xfrm>
                <a:off x="1113941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43" name="Прямая соединительная линия 118">
                <a:extLst>
                  <a:ext uri="{FF2B5EF4-FFF2-40B4-BE49-F238E27FC236}">
                    <a16:creationId xmlns:a16="http://schemas.microsoft.com/office/drawing/2014/main" id="{D6377520-7A79-48E7-B461-548CBB76EDF6}"/>
                  </a:ext>
                </a:extLst>
              </p:cNvPr>
              <p:cNvCxnSpPr/>
              <p:nvPr/>
            </p:nvCxnSpPr>
            <p:spPr>
              <a:xfrm>
                <a:off x="1133726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44" name="Прямая соединительная линия 119">
                <a:extLst>
                  <a:ext uri="{FF2B5EF4-FFF2-40B4-BE49-F238E27FC236}">
                    <a16:creationId xmlns:a16="http://schemas.microsoft.com/office/drawing/2014/main" id="{FB9CE3DB-1EBE-4957-9381-512F09FE1641}"/>
                  </a:ext>
                </a:extLst>
              </p:cNvPr>
              <p:cNvCxnSpPr/>
              <p:nvPr/>
            </p:nvCxnSpPr>
            <p:spPr>
              <a:xfrm>
                <a:off x="1153512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45" name="Прямая соединительная линия 120">
                <a:extLst>
                  <a:ext uri="{FF2B5EF4-FFF2-40B4-BE49-F238E27FC236}">
                    <a16:creationId xmlns:a16="http://schemas.microsoft.com/office/drawing/2014/main" id="{D44CFC41-3DE3-450F-B6D7-E1A9854B04E8}"/>
                  </a:ext>
                </a:extLst>
              </p:cNvPr>
              <p:cNvCxnSpPr/>
              <p:nvPr/>
            </p:nvCxnSpPr>
            <p:spPr>
              <a:xfrm>
                <a:off x="1173297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46" name="Прямая соединительная линия 121">
                <a:extLst>
                  <a:ext uri="{FF2B5EF4-FFF2-40B4-BE49-F238E27FC236}">
                    <a16:creationId xmlns:a16="http://schemas.microsoft.com/office/drawing/2014/main" id="{5C5AB7C9-F9F8-4867-9A99-F7CA39FCE2A2}"/>
                  </a:ext>
                </a:extLst>
              </p:cNvPr>
              <p:cNvCxnSpPr/>
              <p:nvPr/>
            </p:nvCxnSpPr>
            <p:spPr>
              <a:xfrm>
                <a:off x="1193083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47" name="Прямая соединительная линия 122">
                <a:extLst>
                  <a:ext uri="{FF2B5EF4-FFF2-40B4-BE49-F238E27FC236}">
                    <a16:creationId xmlns:a16="http://schemas.microsoft.com/office/drawing/2014/main" id="{D4B64904-86A2-4378-B382-EACD885E7D16}"/>
                  </a:ext>
                </a:extLst>
              </p:cNvPr>
              <p:cNvCxnSpPr/>
              <p:nvPr/>
            </p:nvCxnSpPr>
            <p:spPr>
              <a:xfrm>
                <a:off x="1212869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48" name="Прямая соединительная линия 123">
                <a:extLst>
                  <a:ext uri="{FF2B5EF4-FFF2-40B4-BE49-F238E27FC236}">
                    <a16:creationId xmlns:a16="http://schemas.microsoft.com/office/drawing/2014/main" id="{2D51117E-0D56-43AA-89F5-89630DB95ECD}"/>
                  </a:ext>
                </a:extLst>
              </p:cNvPr>
              <p:cNvCxnSpPr/>
              <p:nvPr/>
            </p:nvCxnSpPr>
            <p:spPr>
              <a:xfrm>
                <a:off x="1232654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49" name="Прямая соединительная линия 124">
                <a:extLst>
                  <a:ext uri="{FF2B5EF4-FFF2-40B4-BE49-F238E27FC236}">
                    <a16:creationId xmlns:a16="http://schemas.microsoft.com/office/drawing/2014/main" id="{1B9E3CC8-D698-492D-8F02-545B2B3634E1}"/>
                  </a:ext>
                </a:extLst>
              </p:cNvPr>
              <p:cNvCxnSpPr/>
              <p:nvPr/>
            </p:nvCxnSpPr>
            <p:spPr>
              <a:xfrm>
                <a:off x="1252440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50" name="Прямая соединительная линия 125">
                <a:extLst>
                  <a:ext uri="{FF2B5EF4-FFF2-40B4-BE49-F238E27FC236}">
                    <a16:creationId xmlns:a16="http://schemas.microsoft.com/office/drawing/2014/main" id="{EDAEE825-3280-4A6A-AB21-CE61EC772E86}"/>
                  </a:ext>
                </a:extLst>
              </p:cNvPr>
              <p:cNvCxnSpPr/>
              <p:nvPr/>
            </p:nvCxnSpPr>
            <p:spPr>
              <a:xfrm>
                <a:off x="1272225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51" name="Прямая соединительная линия 126">
                <a:extLst>
                  <a:ext uri="{FF2B5EF4-FFF2-40B4-BE49-F238E27FC236}">
                    <a16:creationId xmlns:a16="http://schemas.microsoft.com/office/drawing/2014/main" id="{AD965918-F910-42BA-8D6C-F0DCAF0FDBA8}"/>
                  </a:ext>
                </a:extLst>
              </p:cNvPr>
              <p:cNvCxnSpPr/>
              <p:nvPr/>
            </p:nvCxnSpPr>
            <p:spPr>
              <a:xfrm>
                <a:off x="1292011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52" name="Прямая соединительная линия 127">
                <a:extLst>
                  <a:ext uri="{FF2B5EF4-FFF2-40B4-BE49-F238E27FC236}">
                    <a16:creationId xmlns:a16="http://schemas.microsoft.com/office/drawing/2014/main" id="{A7E3807A-E6B8-45AA-8A95-EDD15C3B8B7E}"/>
                  </a:ext>
                </a:extLst>
              </p:cNvPr>
              <p:cNvCxnSpPr/>
              <p:nvPr/>
            </p:nvCxnSpPr>
            <p:spPr>
              <a:xfrm>
                <a:off x="1311797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53" name="Прямая соединительная линия 128">
                <a:extLst>
                  <a:ext uri="{FF2B5EF4-FFF2-40B4-BE49-F238E27FC236}">
                    <a16:creationId xmlns:a16="http://schemas.microsoft.com/office/drawing/2014/main" id="{D48A4D5E-D5FA-473C-BD29-411F1908E19B}"/>
                  </a:ext>
                </a:extLst>
              </p:cNvPr>
              <p:cNvCxnSpPr/>
              <p:nvPr/>
            </p:nvCxnSpPr>
            <p:spPr>
              <a:xfrm>
                <a:off x="1331582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54" name="Прямая соединительная линия 129">
                <a:extLst>
                  <a:ext uri="{FF2B5EF4-FFF2-40B4-BE49-F238E27FC236}">
                    <a16:creationId xmlns:a16="http://schemas.microsoft.com/office/drawing/2014/main" id="{034DE4E2-22EE-45DC-B214-543D29DFFE89}"/>
                  </a:ext>
                </a:extLst>
              </p:cNvPr>
              <p:cNvCxnSpPr/>
              <p:nvPr/>
            </p:nvCxnSpPr>
            <p:spPr>
              <a:xfrm>
                <a:off x="1351368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55" name="Прямая соединительная линия 130">
                <a:extLst>
                  <a:ext uri="{FF2B5EF4-FFF2-40B4-BE49-F238E27FC236}">
                    <a16:creationId xmlns:a16="http://schemas.microsoft.com/office/drawing/2014/main" id="{3B744684-A0E7-4E10-A54C-756B286B29A2}"/>
                  </a:ext>
                </a:extLst>
              </p:cNvPr>
              <p:cNvCxnSpPr/>
              <p:nvPr/>
            </p:nvCxnSpPr>
            <p:spPr>
              <a:xfrm>
                <a:off x="1371153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56" name="Прямая соединительная линия 131">
                <a:extLst>
                  <a:ext uri="{FF2B5EF4-FFF2-40B4-BE49-F238E27FC236}">
                    <a16:creationId xmlns:a16="http://schemas.microsoft.com/office/drawing/2014/main" id="{2B0BF02F-1724-4BA5-AE3D-F9843D016CCC}"/>
                  </a:ext>
                </a:extLst>
              </p:cNvPr>
              <p:cNvCxnSpPr/>
              <p:nvPr/>
            </p:nvCxnSpPr>
            <p:spPr>
              <a:xfrm>
                <a:off x="1390939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57" name="Прямая соединительная линия 132">
                <a:extLst>
                  <a:ext uri="{FF2B5EF4-FFF2-40B4-BE49-F238E27FC236}">
                    <a16:creationId xmlns:a16="http://schemas.microsoft.com/office/drawing/2014/main" id="{AC2249E5-B721-4C16-9574-262C0E14F05A}"/>
                  </a:ext>
                </a:extLst>
              </p:cNvPr>
              <p:cNvCxnSpPr/>
              <p:nvPr/>
            </p:nvCxnSpPr>
            <p:spPr>
              <a:xfrm>
                <a:off x="1410725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58" name="Прямая соединительная линия 133">
                <a:extLst>
                  <a:ext uri="{FF2B5EF4-FFF2-40B4-BE49-F238E27FC236}">
                    <a16:creationId xmlns:a16="http://schemas.microsoft.com/office/drawing/2014/main" id="{529726C1-0EC1-4FDF-9D76-AE1AE168985E}"/>
                  </a:ext>
                </a:extLst>
              </p:cNvPr>
              <p:cNvCxnSpPr/>
              <p:nvPr/>
            </p:nvCxnSpPr>
            <p:spPr>
              <a:xfrm>
                <a:off x="1430510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59" name="Прямая соединительная линия 134">
                <a:extLst>
                  <a:ext uri="{FF2B5EF4-FFF2-40B4-BE49-F238E27FC236}">
                    <a16:creationId xmlns:a16="http://schemas.microsoft.com/office/drawing/2014/main" id="{8C653712-EC92-46F2-89E8-759F044F8F90}"/>
                  </a:ext>
                </a:extLst>
              </p:cNvPr>
              <p:cNvCxnSpPr/>
              <p:nvPr/>
            </p:nvCxnSpPr>
            <p:spPr>
              <a:xfrm>
                <a:off x="1450296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60" name="Прямая соединительная линия 135">
                <a:extLst>
                  <a:ext uri="{FF2B5EF4-FFF2-40B4-BE49-F238E27FC236}">
                    <a16:creationId xmlns:a16="http://schemas.microsoft.com/office/drawing/2014/main" id="{2522283D-432E-46EB-AA63-F0A52FE3F298}"/>
                  </a:ext>
                </a:extLst>
              </p:cNvPr>
              <p:cNvCxnSpPr/>
              <p:nvPr/>
            </p:nvCxnSpPr>
            <p:spPr>
              <a:xfrm>
                <a:off x="1470081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561" name="Прямая соединительная линия 136">
                <a:extLst>
                  <a:ext uri="{FF2B5EF4-FFF2-40B4-BE49-F238E27FC236}">
                    <a16:creationId xmlns:a16="http://schemas.microsoft.com/office/drawing/2014/main" id="{796B1465-B6A0-482F-A47C-60C8ADD12397}"/>
                  </a:ext>
                </a:extLst>
              </p:cNvPr>
              <p:cNvCxnSpPr/>
              <p:nvPr/>
            </p:nvCxnSpPr>
            <p:spPr>
              <a:xfrm>
                <a:off x="14898688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416" name="Группа 52">
              <a:extLst>
                <a:ext uri="{FF2B5EF4-FFF2-40B4-BE49-F238E27FC236}">
                  <a16:creationId xmlns:a16="http://schemas.microsoft.com/office/drawing/2014/main" id="{ED5E778E-F4A0-478B-93B6-6A2D746C6CA0}"/>
                </a:ext>
              </a:extLst>
            </p:cNvPr>
            <p:cNvGrpSpPr/>
            <p:nvPr/>
          </p:nvGrpSpPr>
          <p:grpSpPr>
            <a:xfrm>
              <a:off x="60961" y="3890717"/>
              <a:ext cx="12070080" cy="70989"/>
              <a:chOff x="850899" y="1585732"/>
              <a:chExt cx="14047789" cy="879675"/>
            </a:xfrm>
          </p:grpSpPr>
          <p:cxnSp>
            <p:nvCxnSpPr>
              <p:cNvPr id="418" name="Прямая соединительная линия 64">
                <a:extLst>
                  <a:ext uri="{FF2B5EF4-FFF2-40B4-BE49-F238E27FC236}">
                    <a16:creationId xmlns:a16="http://schemas.microsoft.com/office/drawing/2014/main" id="{2D7C4A4D-3BB6-4809-8719-483B94C16C3E}"/>
                  </a:ext>
                </a:extLst>
              </p:cNvPr>
              <p:cNvCxnSpPr/>
              <p:nvPr/>
            </p:nvCxnSpPr>
            <p:spPr>
              <a:xfrm>
                <a:off x="85089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19" name="Прямая соединительная линия 65">
                <a:extLst>
                  <a:ext uri="{FF2B5EF4-FFF2-40B4-BE49-F238E27FC236}">
                    <a16:creationId xmlns:a16="http://schemas.microsoft.com/office/drawing/2014/main" id="{92596E5C-39E5-40EC-941D-B079F584402A}"/>
                  </a:ext>
                </a:extLst>
              </p:cNvPr>
              <p:cNvCxnSpPr/>
              <p:nvPr/>
            </p:nvCxnSpPr>
            <p:spPr>
              <a:xfrm>
                <a:off x="104875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0" name="Прямая соединительная линия 66">
                <a:extLst>
                  <a:ext uri="{FF2B5EF4-FFF2-40B4-BE49-F238E27FC236}">
                    <a16:creationId xmlns:a16="http://schemas.microsoft.com/office/drawing/2014/main" id="{9D0F472B-41EC-441D-BD99-1C22F13886D4}"/>
                  </a:ext>
                </a:extLst>
              </p:cNvPr>
              <p:cNvCxnSpPr/>
              <p:nvPr/>
            </p:nvCxnSpPr>
            <p:spPr>
              <a:xfrm>
                <a:off x="124661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1" name="Прямая соединительная линия 67">
                <a:extLst>
                  <a:ext uri="{FF2B5EF4-FFF2-40B4-BE49-F238E27FC236}">
                    <a16:creationId xmlns:a16="http://schemas.microsoft.com/office/drawing/2014/main" id="{04E1983E-3B66-4212-82B1-4E25F7D4C6F2}"/>
                  </a:ext>
                </a:extLst>
              </p:cNvPr>
              <p:cNvCxnSpPr/>
              <p:nvPr/>
            </p:nvCxnSpPr>
            <p:spPr>
              <a:xfrm>
                <a:off x="144446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2" name="Прямая соединительная линия 69">
                <a:extLst>
                  <a:ext uri="{FF2B5EF4-FFF2-40B4-BE49-F238E27FC236}">
                    <a16:creationId xmlns:a16="http://schemas.microsoft.com/office/drawing/2014/main" id="{EFDF84B4-E917-4900-BBB3-E702BE8C327A}"/>
                  </a:ext>
                </a:extLst>
              </p:cNvPr>
              <p:cNvCxnSpPr/>
              <p:nvPr/>
            </p:nvCxnSpPr>
            <p:spPr>
              <a:xfrm>
                <a:off x="164232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3" name="Прямая соединительная линия 70">
                <a:extLst>
                  <a:ext uri="{FF2B5EF4-FFF2-40B4-BE49-F238E27FC236}">
                    <a16:creationId xmlns:a16="http://schemas.microsoft.com/office/drawing/2014/main" id="{869CFA8D-C754-4A9B-8C74-2AE18EC20470}"/>
                  </a:ext>
                </a:extLst>
              </p:cNvPr>
              <p:cNvCxnSpPr/>
              <p:nvPr/>
            </p:nvCxnSpPr>
            <p:spPr>
              <a:xfrm>
                <a:off x="184017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4" name="Прямая соединительная линия 71">
                <a:extLst>
                  <a:ext uri="{FF2B5EF4-FFF2-40B4-BE49-F238E27FC236}">
                    <a16:creationId xmlns:a16="http://schemas.microsoft.com/office/drawing/2014/main" id="{1E687AF1-5905-4551-8F0F-3BAE9F58B2CE}"/>
                  </a:ext>
                </a:extLst>
              </p:cNvPr>
              <p:cNvCxnSpPr/>
              <p:nvPr/>
            </p:nvCxnSpPr>
            <p:spPr>
              <a:xfrm>
                <a:off x="203803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5" name="Прямая соединительная линия 72">
                <a:extLst>
                  <a:ext uri="{FF2B5EF4-FFF2-40B4-BE49-F238E27FC236}">
                    <a16:creationId xmlns:a16="http://schemas.microsoft.com/office/drawing/2014/main" id="{A77DDA00-3E97-4085-AA05-DE253686E0A7}"/>
                  </a:ext>
                </a:extLst>
              </p:cNvPr>
              <p:cNvCxnSpPr/>
              <p:nvPr/>
            </p:nvCxnSpPr>
            <p:spPr>
              <a:xfrm>
                <a:off x="223589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6" name="Прямая соединительная линия 73">
                <a:extLst>
                  <a:ext uri="{FF2B5EF4-FFF2-40B4-BE49-F238E27FC236}">
                    <a16:creationId xmlns:a16="http://schemas.microsoft.com/office/drawing/2014/main" id="{901C764D-D34B-4AC0-A260-676FDA4E2B96}"/>
                  </a:ext>
                </a:extLst>
              </p:cNvPr>
              <p:cNvCxnSpPr/>
              <p:nvPr/>
            </p:nvCxnSpPr>
            <p:spPr>
              <a:xfrm>
                <a:off x="243374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7" name="Прямая соединительная линия 74">
                <a:extLst>
                  <a:ext uri="{FF2B5EF4-FFF2-40B4-BE49-F238E27FC236}">
                    <a16:creationId xmlns:a16="http://schemas.microsoft.com/office/drawing/2014/main" id="{10791E5C-D2FA-414D-97F1-63ACF7FBA0F1}"/>
                  </a:ext>
                </a:extLst>
              </p:cNvPr>
              <p:cNvCxnSpPr/>
              <p:nvPr/>
            </p:nvCxnSpPr>
            <p:spPr>
              <a:xfrm>
                <a:off x="263160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8" name="Прямая соединительная линия 75">
                <a:extLst>
                  <a:ext uri="{FF2B5EF4-FFF2-40B4-BE49-F238E27FC236}">
                    <a16:creationId xmlns:a16="http://schemas.microsoft.com/office/drawing/2014/main" id="{4989A624-967E-48E5-AD8A-BA7A1148B237}"/>
                  </a:ext>
                </a:extLst>
              </p:cNvPr>
              <p:cNvCxnSpPr/>
              <p:nvPr/>
            </p:nvCxnSpPr>
            <p:spPr>
              <a:xfrm>
                <a:off x="282945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9" name="Прямая соединительная линия 76">
                <a:extLst>
                  <a:ext uri="{FF2B5EF4-FFF2-40B4-BE49-F238E27FC236}">
                    <a16:creationId xmlns:a16="http://schemas.microsoft.com/office/drawing/2014/main" id="{41A6DCFC-1763-4C63-9916-6820D2136407}"/>
                  </a:ext>
                </a:extLst>
              </p:cNvPr>
              <p:cNvCxnSpPr/>
              <p:nvPr/>
            </p:nvCxnSpPr>
            <p:spPr>
              <a:xfrm>
                <a:off x="302731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0" name="Прямая соединительная линия 77">
                <a:extLst>
                  <a:ext uri="{FF2B5EF4-FFF2-40B4-BE49-F238E27FC236}">
                    <a16:creationId xmlns:a16="http://schemas.microsoft.com/office/drawing/2014/main" id="{31BDB1B9-90C0-4EC3-BBC6-5DF04DE05901}"/>
                  </a:ext>
                </a:extLst>
              </p:cNvPr>
              <p:cNvCxnSpPr/>
              <p:nvPr/>
            </p:nvCxnSpPr>
            <p:spPr>
              <a:xfrm>
                <a:off x="322517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1" name="Прямая соединительная линия 78">
                <a:extLst>
                  <a:ext uri="{FF2B5EF4-FFF2-40B4-BE49-F238E27FC236}">
                    <a16:creationId xmlns:a16="http://schemas.microsoft.com/office/drawing/2014/main" id="{611AE30D-6FC0-4BD8-8603-3C70E0EB4FD9}"/>
                  </a:ext>
                </a:extLst>
              </p:cNvPr>
              <p:cNvCxnSpPr/>
              <p:nvPr/>
            </p:nvCxnSpPr>
            <p:spPr>
              <a:xfrm>
                <a:off x="342302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2" name="Прямая соединительная линия 79">
                <a:extLst>
                  <a:ext uri="{FF2B5EF4-FFF2-40B4-BE49-F238E27FC236}">
                    <a16:creationId xmlns:a16="http://schemas.microsoft.com/office/drawing/2014/main" id="{F26AFA0C-9A90-484B-B172-B61CF68560BF}"/>
                  </a:ext>
                </a:extLst>
              </p:cNvPr>
              <p:cNvCxnSpPr/>
              <p:nvPr/>
            </p:nvCxnSpPr>
            <p:spPr>
              <a:xfrm>
                <a:off x="362088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3" name="Прямая соединительная линия 80">
                <a:extLst>
                  <a:ext uri="{FF2B5EF4-FFF2-40B4-BE49-F238E27FC236}">
                    <a16:creationId xmlns:a16="http://schemas.microsoft.com/office/drawing/2014/main" id="{31834DD3-3E6F-4153-BC12-900BF7AA86A5}"/>
                  </a:ext>
                </a:extLst>
              </p:cNvPr>
              <p:cNvCxnSpPr/>
              <p:nvPr/>
            </p:nvCxnSpPr>
            <p:spPr>
              <a:xfrm>
                <a:off x="381873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4" name="Прямая соединительная линия 81">
                <a:extLst>
                  <a:ext uri="{FF2B5EF4-FFF2-40B4-BE49-F238E27FC236}">
                    <a16:creationId xmlns:a16="http://schemas.microsoft.com/office/drawing/2014/main" id="{BE807F4C-8179-41C6-892F-4F3D7CDDE444}"/>
                  </a:ext>
                </a:extLst>
              </p:cNvPr>
              <p:cNvCxnSpPr/>
              <p:nvPr/>
            </p:nvCxnSpPr>
            <p:spPr>
              <a:xfrm>
                <a:off x="401659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5" name="Прямая соединительная линия 82">
                <a:extLst>
                  <a:ext uri="{FF2B5EF4-FFF2-40B4-BE49-F238E27FC236}">
                    <a16:creationId xmlns:a16="http://schemas.microsoft.com/office/drawing/2014/main" id="{7D25AFF6-6EB4-43D3-A168-D4F527F41CDB}"/>
                  </a:ext>
                </a:extLst>
              </p:cNvPr>
              <p:cNvCxnSpPr/>
              <p:nvPr/>
            </p:nvCxnSpPr>
            <p:spPr>
              <a:xfrm>
                <a:off x="421445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6" name="Прямая соединительная линия 83">
                <a:extLst>
                  <a:ext uri="{FF2B5EF4-FFF2-40B4-BE49-F238E27FC236}">
                    <a16:creationId xmlns:a16="http://schemas.microsoft.com/office/drawing/2014/main" id="{B4EFF9DB-6743-4958-B8AA-480F0B05D5A0}"/>
                  </a:ext>
                </a:extLst>
              </p:cNvPr>
              <p:cNvCxnSpPr/>
              <p:nvPr/>
            </p:nvCxnSpPr>
            <p:spPr>
              <a:xfrm>
                <a:off x="441230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7" name="Прямая соединительная линия 84">
                <a:extLst>
                  <a:ext uri="{FF2B5EF4-FFF2-40B4-BE49-F238E27FC236}">
                    <a16:creationId xmlns:a16="http://schemas.microsoft.com/office/drawing/2014/main" id="{6792DA41-6B5D-4C08-A05E-33F0775518F2}"/>
                  </a:ext>
                </a:extLst>
              </p:cNvPr>
              <p:cNvCxnSpPr/>
              <p:nvPr/>
            </p:nvCxnSpPr>
            <p:spPr>
              <a:xfrm>
                <a:off x="461016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8" name="Прямая соединительная линия 85">
                <a:extLst>
                  <a:ext uri="{FF2B5EF4-FFF2-40B4-BE49-F238E27FC236}">
                    <a16:creationId xmlns:a16="http://schemas.microsoft.com/office/drawing/2014/main" id="{6C02681F-9516-47DE-B509-2E3E5F69A5BB}"/>
                  </a:ext>
                </a:extLst>
              </p:cNvPr>
              <p:cNvCxnSpPr/>
              <p:nvPr/>
            </p:nvCxnSpPr>
            <p:spPr>
              <a:xfrm>
                <a:off x="480801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39" name="Прямая соединительная линия 86">
                <a:extLst>
                  <a:ext uri="{FF2B5EF4-FFF2-40B4-BE49-F238E27FC236}">
                    <a16:creationId xmlns:a16="http://schemas.microsoft.com/office/drawing/2014/main" id="{B00F2FB1-E0B9-4BD6-B1E6-D2CD32329B34}"/>
                  </a:ext>
                </a:extLst>
              </p:cNvPr>
              <p:cNvCxnSpPr/>
              <p:nvPr/>
            </p:nvCxnSpPr>
            <p:spPr>
              <a:xfrm>
                <a:off x="500587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0" name="Прямая соединительная линия 87">
                <a:extLst>
                  <a:ext uri="{FF2B5EF4-FFF2-40B4-BE49-F238E27FC236}">
                    <a16:creationId xmlns:a16="http://schemas.microsoft.com/office/drawing/2014/main" id="{F3F072BE-51A6-4101-B7D6-81C5972A486B}"/>
                  </a:ext>
                </a:extLst>
              </p:cNvPr>
              <p:cNvCxnSpPr/>
              <p:nvPr/>
            </p:nvCxnSpPr>
            <p:spPr>
              <a:xfrm>
                <a:off x="520373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1" name="Прямая соединительная линия 88">
                <a:extLst>
                  <a:ext uri="{FF2B5EF4-FFF2-40B4-BE49-F238E27FC236}">
                    <a16:creationId xmlns:a16="http://schemas.microsoft.com/office/drawing/2014/main" id="{596B496C-0591-4643-82C9-3CA2B772E49B}"/>
                  </a:ext>
                </a:extLst>
              </p:cNvPr>
              <p:cNvCxnSpPr/>
              <p:nvPr/>
            </p:nvCxnSpPr>
            <p:spPr>
              <a:xfrm>
                <a:off x="540158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2" name="Прямая соединительная линия 89">
                <a:extLst>
                  <a:ext uri="{FF2B5EF4-FFF2-40B4-BE49-F238E27FC236}">
                    <a16:creationId xmlns:a16="http://schemas.microsoft.com/office/drawing/2014/main" id="{F14BF2AA-826A-482C-A582-168E4952C7D4}"/>
                  </a:ext>
                </a:extLst>
              </p:cNvPr>
              <p:cNvCxnSpPr/>
              <p:nvPr/>
            </p:nvCxnSpPr>
            <p:spPr>
              <a:xfrm>
                <a:off x="559944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3" name="Прямая соединительная линия 90">
                <a:extLst>
                  <a:ext uri="{FF2B5EF4-FFF2-40B4-BE49-F238E27FC236}">
                    <a16:creationId xmlns:a16="http://schemas.microsoft.com/office/drawing/2014/main" id="{F8EFAB39-6463-47AD-B841-CF9C3D14D04B}"/>
                  </a:ext>
                </a:extLst>
              </p:cNvPr>
              <p:cNvCxnSpPr/>
              <p:nvPr/>
            </p:nvCxnSpPr>
            <p:spPr>
              <a:xfrm>
                <a:off x="579729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4" name="Прямая соединительная линия 91">
                <a:extLst>
                  <a:ext uri="{FF2B5EF4-FFF2-40B4-BE49-F238E27FC236}">
                    <a16:creationId xmlns:a16="http://schemas.microsoft.com/office/drawing/2014/main" id="{B25D95FD-7CB7-4102-8D11-FBBFAE11509C}"/>
                  </a:ext>
                </a:extLst>
              </p:cNvPr>
              <p:cNvCxnSpPr/>
              <p:nvPr/>
            </p:nvCxnSpPr>
            <p:spPr>
              <a:xfrm>
                <a:off x="599515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5" name="Прямая соединительная линия 92">
                <a:extLst>
                  <a:ext uri="{FF2B5EF4-FFF2-40B4-BE49-F238E27FC236}">
                    <a16:creationId xmlns:a16="http://schemas.microsoft.com/office/drawing/2014/main" id="{2E260D45-E2EF-4F22-8A57-A33F333751D5}"/>
                  </a:ext>
                </a:extLst>
              </p:cNvPr>
              <p:cNvCxnSpPr/>
              <p:nvPr/>
            </p:nvCxnSpPr>
            <p:spPr>
              <a:xfrm>
                <a:off x="619301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6" name="Прямая соединительная линия 93">
                <a:extLst>
                  <a:ext uri="{FF2B5EF4-FFF2-40B4-BE49-F238E27FC236}">
                    <a16:creationId xmlns:a16="http://schemas.microsoft.com/office/drawing/2014/main" id="{5A19A3CB-2FD6-480D-9BCC-B60F732A175F}"/>
                  </a:ext>
                </a:extLst>
              </p:cNvPr>
              <p:cNvCxnSpPr/>
              <p:nvPr/>
            </p:nvCxnSpPr>
            <p:spPr>
              <a:xfrm>
                <a:off x="639086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7" name="Прямая соединительная линия 94">
                <a:extLst>
                  <a:ext uri="{FF2B5EF4-FFF2-40B4-BE49-F238E27FC236}">
                    <a16:creationId xmlns:a16="http://schemas.microsoft.com/office/drawing/2014/main" id="{8E8C5ECC-745E-4F65-8356-61AB08D275BE}"/>
                  </a:ext>
                </a:extLst>
              </p:cNvPr>
              <p:cNvCxnSpPr/>
              <p:nvPr/>
            </p:nvCxnSpPr>
            <p:spPr>
              <a:xfrm>
                <a:off x="658872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8" name="Прямая соединительная линия 95">
                <a:extLst>
                  <a:ext uri="{FF2B5EF4-FFF2-40B4-BE49-F238E27FC236}">
                    <a16:creationId xmlns:a16="http://schemas.microsoft.com/office/drawing/2014/main" id="{87BD6B49-522A-41A2-B96D-B8DAB7435C9C}"/>
                  </a:ext>
                </a:extLst>
              </p:cNvPr>
              <p:cNvCxnSpPr/>
              <p:nvPr/>
            </p:nvCxnSpPr>
            <p:spPr>
              <a:xfrm>
                <a:off x="678657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49" name="Прямая соединительная линия 96">
                <a:extLst>
                  <a:ext uri="{FF2B5EF4-FFF2-40B4-BE49-F238E27FC236}">
                    <a16:creationId xmlns:a16="http://schemas.microsoft.com/office/drawing/2014/main" id="{C3D1E7AF-1840-41EC-B94B-8049B4FB8A92}"/>
                  </a:ext>
                </a:extLst>
              </p:cNvPr>
              <p:cNvCxnSpPr/>
              <p:nvPr/>
            </p:nvCxnSpPr>
            <p:spPr>
              <a:xfrm>
                <a:off x="698443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0" name="Прямая соединительная линия 97">
                <a:extLst>
                  <a:ext uri="{FF2B5EF4-FFF2-40B4-BE49-F238E27FC236}">
                    <a16:creationId xmlns:a16="http://schemas.microsoft.com/office/drawing/2014/main" id="{9869B6C9-9B2A-4C27-BE07-C2BB1FB207C3}"/>
                  </a:ext>
                </a:extLst>
              </p:cNvPr>
              <p:cNvCxnSpPr/>
              <p:nvPr/>
            </p:nvCxnSpPr>
            <p:spPr>
              <a:xfrm>
                <a:off x="718229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1" name="Прямая соединительная линия 98">
                <a:extLst>
                  <a:ext uri="{FF2B5EF4-FFF2-40B4-BE49-F238E27FC236}">
                    <a16:creationId xmlns:a16="http://schemas.microsoft.com/office/drawing/2014/main" id="{A67DBF60-7C48-4D7E-B37E-2C1D14C6C70A}"/>
                  </a:ext>
                </a:extLst>
              </p:cNvPr>
              <p:cNvCxnSpPr/>
              <p:nvPr/>
            </p:nvCxnSpPr>
            <p:spPr>
              <a:xfrm>
                <a:off x="738014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2" name="Прямая соединительная линия 99">
                <a:extLst>
                  <a:ext uri="{FF2B5EF4-FFF2-40B4-BE49-F238E27FC236}">
                    <a16:creationId xmlns:a16="http://schemas.microsoft.com/office/drawing/2014/main" id="{22989FA6-86F3-4F5C-9F7F-D4E75D495E69}"/>
                  </a:ext>
                </a:extLst>
              </p:cNvPr>
              <p:cNvCxnSpPr/>
              <p:nvPr/>
            </p:nvCxnSpPr>
            <p:spPr>
              <a:xfrm>
                <a:off x="757800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3" name="Прямая соединительная линия 100">
                <a:extLst>
                  <a:ext uri="{FF2B5EF4-FFF2-40B4-BE49-F238E27FC236}">
                    <a16:creationId xmlns:a16="http://schemas.microsoft.com/office/drawing/2014/main" id="{95DE3566-DB16-487C-9B7F-00521D2653D2}"/>
                  </a:ext>
                </a:extLst>
              </p:cNvPr>
              <p:cNvCxnSpPr/>
              <p:nvPr/>
            </p:nvCxnSpPr>
            <p:spPr>
              <a:xfrm>
                <a:off x="777585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4" name="Прямая соединительная линия 101">
                <a:extLst>
                  <a:ext uri="{FF2B5EF4-FFF2-40B4-BE49-F238E27FC236}">
                    <a16:creationId xmlns:a16="http://schemas.microsoft.com/office/drawing/2014/main" id="{EB62F5C0-4DAE-4EEF-A751-6D90F6D3A931}"/>
                  </a:ext>
                </a:extLst>
              </p:cNvPr>
              <p:cNvCxnSpPr/>
              <p:nvPr/>
            </p:nvCxnSpPr>
            <p:spPr>
              <a:xfrm>
                <a:off x="797371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5" name="Прямая соединительная линия 102">
                <a:extLst>
                  <a:ext uri="{FF2B5EF4-FFF2-40B4-BE49-F238E27FC236}">
                    <a16:creationId xmlns:a16="http://schemas.microsoft.com/office/drawing/2014/main" id="{EDA5047A-78B2-4063-B2A6-B3670B8B15D8}"/>
                  </a:ext>
                </a:extLst>
              </p:cNvPr>
              <p:cNvCxnSpPr/>
              <p:nvPr/>
            </p:nvCxnSpPr>
            <p:spPr>
              <a:xfrm>
                <a:off x="817157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6" name="Прямая соединительная линия 103">
                <a:extLst>
                  <a:ext uri="{FF2B5EF4-FFF2-40B4-BE49-F238E27FC236}">
                    <a16:creationId xmlns:a16="http://schemas.microsoft.com/office/drawing/2014/main" id="{B5AAF27E-A05C-44FD-A980-B32DD4560CE1}"/>
                  </a:ext>
                </a:extLst>
              </p:cNvPr>
              <p:cNvCxnSpPr/>
              <p:nvPr/>
            </p:nvCxnSpPr>
            <p:spPr>
              <a:xfrm>
                <a:off x="836942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7" name="Прямая соединительная линия 104">
                <a:extLst>
                  <a:ext uri="{FF2B5EF4-FFF2-40B4-BE49-F238E27FC236}">
                    <a16:creationId xmlns:a16="http://schemas.microsoft.com/office/drawing/2014/main" id="{5597409D-7FBB-4BB6-98BE-CFC4416A80E0}"/>
                  </a:ext>
                </a:extLst>
              </p:cNvPr>
              <p:cNvCxnSpPr/>
              <p:nvPr/>
            </p:nvCxnSpPr>
            <p:spPr>
              <a:xfrm>
                <a:off x="856728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8" name="Прямая соединительная линия 105">
                <a:extLst>
                  <a:ext uri="{FF2B5EF4-FFF2-40B4-BE49-F238E27FC236}">
                    <a16:creationId xmlns:a16="http://schemas.microsoft.com/office/drawing/2014/main" id="{0D373A29-561A-4597-9C9D-8836B84346AF}"/>
                  </a:ext>
                </a:extLst>
              </p:cNvPr>
              <p:cNvCxnSpPr/>
              <p:nvPr/>
            </p:nvCxnSpPr>
            <p:spPr>
              <a:xfrm>
                <a:off x="876513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59" name="Прямая соединительная линия 106">
                <a:extLst>
                  <a:ext uri="{FF2B5EF4-FFF2-40B4-BE49-F238E27FC236}">
                    <a16:creationId xmlns:a16="http://schemas.microsoft.com/office/drawing/2014/main" id="{1DBF4FA6-8F8A-43BE-9E44-112017E85201}"/>
                  </a:ext>
                </a:extLst>
              </p:cNvPr>
              <p:cNvCxnSpPr/>
              <p:nvPr/>
            </p:nvCxnSpPr>
            <p:spPr>
              <a:xfrm>
                <a:off x="896299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0" name="Прямая соединительная линия 107">
                <a:extLst>
                  <a:ext uri="{FF2B5EF4-FFF2-40B4-BE49-F238E27FC236}">
                    <a16:creationId xmlns:a16="http://schemas.microsoft.com/office/drawing/2014/main" id="{0499750B-A858-445F-A37D-5B994D1184CF}"/>
                  </a:ext>
                </a:extLst>
              </p:cNvPr>
              <p:cNvCxnSpPr/>
              <p:nvPr/>
            </p:nvCxnSpPr>
            <p:spPr>
              <a:xfrm>
                <a:off x="916085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1" name="Прямая соединительная линия 108">
                <a:extLst>
                  <a:ext uri="{FF2B5EF4-FFF2-40B4-BE49-F238E27FC236}">
                    <a16:creationId xmlns:a16="http://schemas.microsoft.com/office/drawing/2014/main" id="{8AF92EF5-CB16-4860-B34B-FDC369DC082C}"/>
                  </a:ext>
                </a:extLst>
              </p:cNvPr>
              <p:cNvCxnSpPr/>
              <p:nvPr/>
            </p:nvCxnSpPr>
            <p:spPr>
              <a:xfrm>
                <a:off x="935870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2" name="Прямая соединительная линия 109">
                <a:extLst>
                  <a:ext uri="{FF2B5EF4-FFF2-40B4-BE49-F238E27FC236}">
                    <a16:creationId xmlns:a16="http://schemas.microsoft.com/office/drawing/2014/main" id="{8954FD9C-1679-4A45-AB58-2FA9869FBF55}"/>
                  </a:ext>
                </a:extLst>
              </p:cNvPr>
              <p:cNvCxnSpPr/>
              <p:nvPr/>
            </p:nvCxnSpPr>
            <p:spPr>
              <a:xfrm>
                <a:off x="955656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3" name="Прямая соединительная линия 110">
                <a:extLst>
                  <a:ext uri="{FF2B5EF4-FFF2-40B4-BE49-F238E27FC236}">
                    <a16:creationId xmlns:a16="http://schemas.microsoft.com/office/drawing/2014/main" id="{C7FA8951-9CA4-42DD-BDFB-C2564D9F0578}"/>
                  </a:ext>
                </a:extLst>
              </p:cNvPr>
              <p:cNvCxnSpPr/>
              <p:nvPr/>
            </p:nvCxnSpPr>
            <p:spPr>
              <a:xfrm>
                <a:off x="975441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4" name="Прямая соединительная линия 111">
                <a:extLst>
                  <a:ext uri="{FF2B5EF4-FFF2-40B4-BE49-F238E27FC236}">
                    <a16:creationId xmlns:a16="http://schemas.microsoft.com/office/drawing/2014/main" id="{29674CCC-BBB6-44AF-9DB8-4C2ACFD8986F}"/>
                  </a:ext>
                </a:extLst>
              </p:cNvPr>
              <p:cNvCxnSpPr/>
              <p:nvPr/>
            </p:nvCxnSpPr>
            <p:spPr>
              <a:xfrm>
                <a:off x="995227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5" name="Прямая соединительная линия 112">
                <a:extLst>
                  <a:ext uri="{FF2B5EF4-FFF2-40B4-BE49-F238E27FC236}">
                    <a16:creationId xmlns:a16="http://schemas.microsoft.com/office/drawing/2014/main" id="{93E22FD9-3D1B-46BF-A4C2-E234A64BC1E6}"/>
                  </a:ext>
                </a:extLst>
              </p:cNvPr>
              <p:cNvCxnSpPr/>
              <p:nvPr/>
            </p:nvCxnSpPr>
            <p:spPr>
              <a:xfrm>
                <a:off x="1015013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6" name="Прямая соединительная линия 113">
                <a:extLst>
                  <a:ext uri="{FF2B5EF4-FFF2-40B4-BE49-F238E27FC236}">
                    <a16:creationId xmlns:a16="http://schemas.microsoft.com/office/drawing/2014/main" id="{4054558F-7A3A-47C8-96AF-378FA724A231}"/>
                  </a:ext>
                </a:extLst>
              </p:cNvPr>
              <p:cNvCxnSpPr/>
              <p:nvPr/>
            </p:nvCxnSpPr>
            <p:spPr>
              <a:xfrm>
                <a:off x="1034798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7" name="Прямая соединительная линия 114">
                <a:extLst>
                  <a:ext uri="{FF2B5EF4-FFF2-40B4-BE49-F238E27FC236}">
                    <a16:creationId xmlns:a16="http://schemas.microsoft.com/office/drawing/2014/main" id="{EA32763E-6EE0-4D84-8CC4-2A27546CF496}"/>
                  </a:ext>
                </a:extLst>
              </p:cNvPr>
              <p:cNvCxnSpPr/>
              <p:nvPr/>
            </p:nvCxnSpPr>
            <p:spPr>
              <a:xfrm>
                <a:off x="1054584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8" name="Прямая соединительная линия 115">
                <a:extLst>
                  <a:ext uri="{FF2B5EF4-FFF2-40B4-BE49-F238E27FC236}">
                    <a16:creationId xmlns:a16="http://schemas.microsoft.com/office/drawing/2014/main" id="{6BDF21E7-0D3D-42D1-9A8D-71DDFAF17607}"/>
                  </a:ext>
                </a:extLst>
              </p:cNvPr>
              <p:cNvCxnSpPr/>
              <p:nvPr/>
            </p:nvCxnSpPr>
            <p:spPr>
              <a:xfrm>
                <a:off x="1074369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69" name="Прямая соединительная линия 116">
                <a:extLst>
                  <a:ext uri="{FF2B5EF4-FFF2-40B4-BE49-F238E27FC236}">
                    <a16:creationId xmlns:a16="http://schemas.microsoft.com/office/drawing/2014/main" id="{DEA12562-E4DD-4D60-8862-06A22C08749B}"/>
                  </a:ext>
                </a:extLst>
              </p:cNvPr>
              <p:cNvCxnSpPr/>
              <p:nvPr/>
            </p:nvCxnSpPr>
            <p:spPr>
              <a:xfrm>
                <a:off x="1094155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0" name="Прямая соединительная линия 117">
                <a:extLst>
                  <a:ext uri="{FF2B5EF4-FFF2-40B4-BE49-F238E27FC236}">
                    <a16:creationId xmlns:a16="http://schemas.microsoft.com/office/drawing/2014/main" id="{C4AC3D6D-BBCD-4FAC-A189-9E3641C1A26D}"/>
                  </a:ext>
                </a:extLst>
              </p:cNvPr>
              <p:cNvCxnSpPr/>
              <p:nvPr/>
            </p:nvCxnSpPr>
            <p:spPr>
              <a:xfrm>
                <a:off x="1113941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1" name="Прямая соединительная линия 118">
                <a:extLst>
                  <a:ext uri="{FF2B5EF4-FFF2-40B4-BE49-F238E27FC236}">
                    <a16:creationId xmlns:a16="http://schemas.microsoft.com/office/drawing/2014/main" id="{64FB51C2-CA4C-43D5-9726-D0DF36062589}"/>
                  </a:ext>
                </a:extLst>
              </p:cNvPr>
              <p:cNvCxnSpPr/>
              <p:nvPr/>
            </p:nvCxnSpPr>
            <p:spPr>
              <a:xfrm>
                <a:off x="1133726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2" name="Прямая соединительная линия 119">
                <a:extLst>
                  <a:ext uri="{FF2B5EF4-FFF2-40B4-BE49-F238E27FC236}">
                    <a16:creationId xmlns:a16="http://schemas.microsoft.com/office/drawing/2014/main" id="{44D34490-F5D4-4538-8E80-19DF9577E210}"/>
                  </a:ext>
                </a:extLst>
              </p:cNvPr>
              <p:cNvCxnSpPr/>
              <p:nvPr/>
            </p:nvCxnSpPr>
            <p:spPr>
              <a:xfrm>
                <a:off x="1153512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3" name="Прямая соединительная линия 120">
                <a:extLst>
                  <a:ext uri="{FF2B5EF4-FFF2-40B4-BE49-F238E27FC236}">
                    <a16:creationId xmlns:a16="http://schemas.microsoft.com/office/drawing/2014/main" id="{AB0DC1C3-48A3-48C1-94D5-FC0BE703C216}"/>
                  </a:ext>
                </a:extLst>
              </p:cNvPr>
              <p:cNvCxnSpPr/>
              <p:nvPr/>
            </p:nvCxnSpPr>
            <p:spPr>
              <a:xfrm>
                <a:off x="1173297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4" name="Прямая соединительная линия 121">
                <a:extLst>
                  <a:ext uri="{FF2B5EF4-FFF2-40B4-BE49-F238E27FC236}">
                    <a16:creationId xmlns:a16="http://schemas.microsoft.com/office/drawing/2014/main" id="{7AF702B8-9CFB-4C80-9C8B-495C6D4E7037}"/>
                  </a:ext>
                </a:extLst>
              </p:cNvPr>
              <p:cNvCxnSpPr/>
              <p:nvPr/>
            </p:nvCxnSpPr>
            <p:spPr>
              <a:xfrm>
                <a:off x="1193083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5" name="Прямая соединительная линия 122">
                <a:extLst>
                  <a:ext uri="{FF2B5EF4-FFF2-40B4-BE49-F238E27FC236}">
                    <a16:creationId xmlns:a16="http://schemas.microsoft.com/office/drawing/2014/main" id="{CEA38D1D-2EAF-44AB-A10D-923628DDA05D}"/>
                  </a:ext>
                </a:extLst>
              </p:cNvPr>
              <p:cNvCxnSpPr/>
              <p:nvPr/>
            </p:nvCxnSpPr>
            <p:spPr>
              <a:xfrm>
                <a:off x="1212869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6" name="Прямая соединительная линия 123">
                <a:extLst>
                  <a:ext uri="{FF2B5EF4-FFF2-40B4-BE49-F238E27FC236}">
                    <a16:creationId xmlns:a16="http://schemas.microsoft.com/office/drawing/2014/main" id="{F90AC235-2FB3-43B8-B364-01A4D020736A}"/>
                  </a:ext>
                </a:extLst>
              </p:cNvPr>
              <p:cNvCxnSpPr/>
              <p:nvPr/>
            </p:nvCxnSpPr>
            <p:spPr>
              <a:xfrm>
                <a:off x="1232654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7" name="Прямая соединительная линия 124">
                <a:extLst>
                  <a:ext uri="{FF2B5EF4-FFF2-40B4-BE49-F238E27FC236}">
                    <a16:creationId xmlns:a16="http://schemas.microsoft.com/office/drawing/2014/main" id="{02A1E03D-E67E-4DCF-852C-970040E8F559}"/>
                  </a:ext>
                </a:extLst>
              </p:cNvPr>
              <p:cNvCxnSpPr/>
              <p:nvPr/>
            </p:nvCxnSpPr>
            <p:spPr>
              <a:xfrm>
                <a:off x="1252440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8" name="Прямая соединительная линия 125">
                <a:extLst>
                  <a:ext uri="{FF2B5EF4-FFF2-40B4-BE49-F238E27FC236}">
                    <a16:creationId xmlns:a16="http://schemas.microsoft.com/office/drawing/2014/main" id="{E97DB8AC-01B3-40DF-9606-2EDFD3FB32D2}"/>
                  </a:ext>
                </a:extLst>
              </p:cNvPr>
              <p:cNvCxnSpPr/>
              <p:nvPr/>
            </p:nvCxnSpPr>
            <p:spPr>
              <a:xfrm>
                <a:off x="1272225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79" name="Прямая соединительная линия 126">
                <a:extLst>
                  <a:ext uri="{FF2B5EF4-FFF2-40B4-BE49-F238E27FC236}">
                    <a16:creationId xmlns:a16="http://schemas.microsoft.com/office/drawing/2014/main" id="{829893E3-87BD-4470-816F-2621AB4F3529}"/>
                  </a:ext>
                </a:extLst>
              </p:cNvPr>
              <p:cNvCxnSpPr/>
              <p:nvPr/>
            </p:nvCxnSpPr>
            <p:spPr>
              <a:xfrm>
                <a:off x="1292011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0" name="Прямая соединительная линия 127">
                <a:extLst>
                  <a:ext uri="{FF2B5EF4-FFF2-40B4-BE49-F238E27FC236}">
                    <a16:creationId xmlns:a16="http://schemas.microsoft.com/office/drawing/2014/main" id="{48AC85DE-2EDE-4C30-8265-2454202E402E}"/>
                  </a:ext>
                </a:extLst>
              </p:cNvPr>
              <p:cNvCxnSpPr/>
              <p:nvPr/>
            </p:nvCxnSpPr>
            <p:spPr>
              <a:xfrm>
                <a:off x="1311797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1" name="Прямая соединительная линия 128">
                <a:extLst>
                  <a:ext uri="{FF2B5EF4-FFF2-40B4-BE49-F238E27FC236}">
                    <a16:creationId xmlns:a16="http://schemas.microsoft.com/office/drawing/2014/main" id="{54167FE7-80D4-46D1-B420-B4600F85E469}"/>
                  </a:ext>
                </a:extLst>
              </p:cNvPr>
              <p:cNvCxnSpPr/>
              <p:nvPr/>
            </p:nvCxnSpPr>
            <p:spPr>
              <a:xfrm>
                <a:off x="1331582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2" name="Прямая соединительная линия 129">
                <a:extLst>
                  <a:ext uri="{FF2B5EF4-FFF2-40B4-BE49-F238E27FC236}">
                    <a16:creationId xmlns:a16="http://schemas.microsoft.com/office/drawing/2014/main" id="{9942835F-C35B-4E63-94AC-0CB5881A62F3}"/>
                  </a:ext>
                </a:extLst>
              </p:cNvPr>
              <p:cNvCxnSpPr/>
              <p:nvPr/>
            </p:nvCxnSpPr>
            <p:spPr>
              <a:xfrm>
                <a:off x="1351368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3" name="Прямая соединительная линия 130">
                <a:extLst>
                  <a:ext uri="{FF2B5EF4-FFF2-40B4-BE49-F238E27FC236}">
                    <a16:creationId xmlns:a16="http://schemas.microsoft.com/office/drawing/2014/main" id="{AD544465-12C1-431F-B0E2-B6D91048CD76}"/>
                  </a:ext>
                </a:extLst>
              </p:cNvPr>
              <p:cNvCxnSpPr/>
              <p:nvPr/>
            </p:nvCxnSpPr>
            <p:spPr>
              <a:xfrm>
                <a:off x="1371153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4" name="Прямая соединительная линия 131">
                <a:extLst>
                  <a:ext uri="{FF2B5EF4-FFF2-40B4-BE49-F238E27FC236}">
                    <a16:creationId xmlns:a16="http://schemas.microsoft.com/office/drawing/2014/main" id="{1C6B83F2-2546-411F-9980-35BFBD101971}"/>
                  </a:ext>
                </a:extLst>
              </p:cNvPr>
              <p:cNvCxnSpPr/>
              <p:nvPr/>
            </p:nvCxnSpPr>
            <p:spPr>
              <a:xfrm>
                <a:off x="13909395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5" name="Прямая соединительная линия 132">
                <a:extLst>
                  <a:ext uri="{FF2B5EF4-FFF2-40B4-BE49-F238E27FC236}">
                    <a16:creationId xmlns:a16="http://schemas.microsoft.com/office/drawing/2014/main" id="{773C11E8-90AD-435B-ADB2-382C1EF68E11}"/>
                  </a:ext>
                </a:extLst>
              </p:cNvPr>
              <p:cNvCxnSpPr/>
              <p:nvPr/>
            </p:nvCxnSpPr>
            <p:spPr>
              <a:xfrm>
                <a:off x="14107251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6" name="Прямая соединительная линия 133">
                <a:extLst>
                  <a:ext uri="{FF2B5EF4-FFF2-40B4-BE49-F238E27FC236}">
                    <a16:creationId xmlns:a16="http://schemas.microsoft.com/office/drawing/2014/main" id="{37887F9B-2C81-4B90-8C92-A76756B1FAEA}"/>
                  </a:ext>
                </a:extLst>
              </p:cNvPr>
              <p:cNvCxnSpPr/>
              <p:nvPr/>
            </p:nvCxnSpPr>
            <p:spPr>
              <a:xfrm>
                <a:off x="14305107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7" name="Прямая соединительная линия 134">
                <a:extLst>
                  <a:ext uri="{FF2B5EF4-FFF2-40B4-BE49-F238E27FC236}">
                    <a16:creationId xmlns:a16="http://schemas.microsoft.com/office/drawing/2014/main" id="{01DE0692-8703-481F-850A-B6333040BBEC}"/>
                  </a:ext>
                </a:extLst>
              </p:cNvPr>
              <p:cNvCxnSpPr/>
              <p:nvPr/>
            </p:nvCxnSpPr>
            <p:spPr>
              <a:xfrm>
                <a:off x="14502963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8" name="Прямая соединительная линия 135">
                <a:extLst>
                  <a:ext uri="{FF2B5EF4-FFF2-40B4-BE49-F238E27FC236}">
                    <a16:creationId xmlns:a16="http://schemas.microsoft.com/office/drawing/2014/main" id="{4A7897DA-82BB-40A4-9286-BFEE0C4E17AA}"/>
                  </a:ext>
                </a:extLst>
              </p:cNvPr>
              <p:cNvCxnSpPr/>
              <p:nvPr/>
            </p:nvCxnSpPr>
            <p:spPr>
              <a:xfrm>
                <a:off x="14700819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89" name="Прямая соединительная линия 136">
                <a:extLst>
                  <a:ext uri="{FF2B5EF4-FFF2-40B4-BE49-F238E27FC236}">
                    <a16:creationId xmlns:a16="http://schemas.microsoft.com/office/drawing/2014/main" id="{EFACDA73-D1AC-4CB5-B642-9785E3B714DA}"/>
                  </a:ext>
                </a:extLst>
              </p:cNvPr>
              <p:cNvCxnSpPr/>
              <p:nvPr/>
            </p:nvCxnSpPr>
            <p:spPr>
              <a:xfrm>
                <a:off x="14898688" y="1585732"/>
                <a:ext cx="0" cy="879675"/>
              </a:xfrm>
              <a:prstGeom prst="lin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</p:cxnSp>
        </p:grpSp>
        <p:cxnSp>
          <p:nvCxnSpPr>
            <p:cNvPr id="417" name="Прямая соединительная линия 416">
              <a:extLst>
                <a:ext uri="{FF2B5EF4-FFF2-40B4-BE49-F238E27FC236}">
                  <a16:creationId xmlns:a16="http://schemas.microsoft.com/office/drawing/2014/main" id="{DB17A00D-801A-47CE-ADA7-2EE0C1E4FD6C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746040"/>
              <a:ext cx="12192000" cy="0"/>
            </a:xfrm>
            <a:prstGeom prst="line">
              <a:avLst/>
            </a:prstGeom>
            <a:noFill/>
            <a:ln w="44450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</p:cxnSp>
      </p:grpSp>
      <p:grpSp>
        <p:nvGrpSpPr>
          <p:cNvPr id="562" name="Группа 561">
            <a:extLst>
              <a:ext uri="{FF2B5EF4-FFF2-40B4-BE49-F238E27FC236}">
                <a16:creationId xmlns:a16="http://schemas.microsoft.com/office/drawing/2014/main" id="{5A1DC235-CC1E-4D78-86F5-09D2CD3DA1D0}"/>
              </a:ext>
            </a:extLst>
          </p:cNvPr>
          <p:cNvGrpSpPr/>
          <p:nvPr/>
        </p:nvGrpSpPr>
        <p:grpSpPr>
          <a:xfrm>
            <a:off x="1008012" y="3956876"/>
            <a:ext cx="1898127" cy="763265"/>
            <a:chOff x="1008012" y="3956876"/>
            <a:chExt cx="1898127" cy="763265"/>
          </a:xfrm>
        </p:grpSpPr>
        <p:sp>
          <p:nvSpPr>
            <p:cNvPr id="563" name="Текст 2">
              <a:extLst>
                <a:ext uri="{FF2B5EF4-FFF2-40B4-BE49-F238E27FC236}">
                  <a16:creationId xmlns:a16="http://schemas.microsoft.com/office/drawing/2014/main" id="{4A6CD9B8-A383-4217-BC57-8AFEAD84FE6A}"/>
                </a:ext>
              </a:extLst>
            </p:cNvPr>
            <p:cNvSpPr txBox="1">
              <a:spLocks/>
            </p:cNvSpPr>
            <p:nvPr/>
          </p:nvSpPr>
          <p:spPr>
            <a:xfrm>
              <a:off x="1008012" y="4473920"/>
              <a:ext cx="1898127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lang="ru-RU" sz="1600" b="1" dirty="0">
                  <a:solidFill>
                    <a:srgbClr val="EB8B2D"/>
                  </a:solidFill>
                  <a:latin typeface="Arial" panose="020B0604020202020204"/>
                </a:rPr>
                <a:t>7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B8B2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-е 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B8B2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классы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B8B2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cxnSp>
          <p:nvCxnSpPr>
            <p:cNvPr id="564" name="Straight Connector 207">
              <a:extLst>
                <a:ext uri="{FF2B5EF4-FFF2-40B4-BE49-F238E27FC236}">
                  <a16:creationId xmlns:a16="http://schemas.microsoft.com/office/drawing/2014/main" id="{8576718D-B881-4801-A328-A5A0768AECED}"/>
                </a:ext>
              </a:extLst>
            </p:cNvPr>
            <p:cNvCxnSpPr>
              <a:cxnSpLocks/>
            </p:cNvCxnSpPr>
            <p:nvPr/>
          </p:nvCxnSpPr>
          <p:spPr>
            <a:xfrm>
              <a:off x="1106664" y="3956876"/>
              <a:ext cx="0" cy="396006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</p:grpSp>
      <p:grpSp>
        <p:nvGrpSpPr>
          <p:cNvPr id="565" name="Группа 564">
            <a:extLst>
              <a:ext uri="{FF2B5EF4-FFF2-40B4-BE49-F238E27FC236}">
                <a16:creationId xmlns:a16="http://schemas.microsoft.com/office/drawing/2014/main" id="{61FDAAF5-F19E-4FFA-8D10-08DF677EC964}"/>
              </a:ext>
            </a:extLst>
          </p:cNvPr>
          <p:cNvGrpSpPr/>
          <p:nvPr/>
        </p:nvGrpSpPr>
        <p:grpSpPr>
          <a:xfrm>
            <a:off x="2127132" y="2555213"/>
            <a:ext cx="1925444" cy="1030957"/>
            <a:chOff x="2127132" y="2555213"/>
            <a:chExt cx="1925444" cy="1030957"/>
          </a:xfrm>
        </p:grpSpPr>
        <p:sp>
          <p:nvSpPr>
            <p:cNvPr id="566" name="Текст 2">
              <a:extLst>
                <a:ext uri="{FF2B5EF4-FFF2-40B4-BE49-F238E27FC236}">
                  <a16:creationId xmlns:a16="http://schemas.microsoft.com/office/drawing/2014/main" id="{842F88C6-81C7-45B6-8CE9-E656A5E88592}"/>
                </a:ext>
              </a:extLst>
            </p:cNvPr>
            <p:cNvSpPr txBox="1">
              <a:spLocks/>
            </p:cNvSpPr>
            <p:nvPr/>
          </p:nvSpPr>
          <p:spPr>
            <a:xfrm>
              <a:off x="2127132" y="2555213"/>
              <a:ext cx="1925444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B8B2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8-е 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B8B2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классы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B8B2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cxnSp>
          <p:nvCxnSpPr>
            <p:cNvPr id="567" name="Straight Connector 196">
              <a:extLst>
                <a:ext uri="{FF2B5EF4-FFF2-40B4-BE49-F238E27FC236}">
                  <a16:creationId xmlns:a16="http://schemas.microsoft.com/office/drawing/2014/main" id="{6C0540F6-EC0E-4871-B6EA-DB9D5BA3504A}"/>
                </a:ext>
              </a:extLst>
            </p:cNvPr>
            <p:cNvCxnSpPr>
              <a:cxnSpLocks/>
            </p:cNvCxnSpPr>
            <p:nvPr/>
          </p:nvCxnSpPr>
          <p:spPr>
            <a:xfrm>
              <a:off x="2178060" y="2902999"/>
              <a:ext cx="0" cy="683171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</p:grpSp>
      <p:grpSp>
        <p:nvGrpSpPr>
          <p:cNvPr id="568" name="Группа 567">
            <a:extLst>
              <a:ext uri="{FF2B5EF4-FFF2-40B4-BE49-F238E27FC236}">
                <a16:creationId xmlns:a16="http://schemas.microsoft.com/office/drawing/2014/main" id="{A55E0C68-0811-4BFA-A4F8-0B474C70AD5D}"/>
              </a:ext>
            </a:extLst>
          </p:cNvPr>
          <p:cNvGrpSpPr/>
          <p:nvPr/>
        </p:nvGrpSpPr>
        <p:grpSpPr>
          <a:xfrm>
            <a:off x="3180590" y="3956876"/>
            <a:ext cx="2050741" cy="1705569"/>
            <a:chOff x="3180590" y="3956876"/>
            <a:chExt cx="2050741" cy="1705569"/>
          </a:xfrm>
        </p:grpSpPr>
        <p:sp>
          <p:nvSpPr>
            <p:cNvPr id="569" name="Текст 2">
              <a:extLst>
                <a:ext uri="{FF2B5EF4-FFF2-40B4-BE49-F238E27FC236}">
                  <a16:creationId xmlns:a16="http://schemas.microsoft.com/office/drawing/2014/main" id="{8270416A-BDA2-4AAA-B9A8-B1872DC746BF}"/>
                </a:ext>
              </a:extLst>
            </p:cNvPr>
            <p:cNvSpPr txBox="1">
              <a:spLocks/>
            </p:cNvSpPr>
            <p:nvPr/>
          </p:nvSpPr>
          <p:spPr>
            <a:xfrm>
              <a:off x="3180590" y="5416224"/>
              <a:ext cx="2050741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B8B2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9-е 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EB8B2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классы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B8B2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cxnSp>
          <p:nvCxnSpPr>
            <p:cNvPr id="570" name="Straight Connector 205">
              <a:extLst>
                <a:ext uri="{FF2B5EF4-FFF2-40B4-BE49-F238E27FC236}">
                  <a16:creationId xmlns:a16="http://schemas.microsoft.com/office/drawing/2014/main" id="{27E69324-918C-4F3B-BF22-C7145013D856}"/>
                </a:ext>
              </a:extLst>
            </p:cNvPr>
            <p:cNvCxnSpPr>
              <a:cxnSpLocks/>
            </p:cNvCxnSpPr>
            <p:nvPr/>
          </p:nvCxnSpPr>
          <p:spPr>
            <a:xfrm>
              <a:off x="3244953" y="3956876"/>
              <a:ext cx="0" cy="1334760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</p:grpSp>
      <p:grpSp>
        <p:nvGrpSpPr>
          <p:cNvPr id="571" name="Группа 570">
            <a:extLst>
              <a:ext uri="{FF2B5EF4-FFF2-40B4-BE49-F238E27FC236}">
                <a16:creationId xmlns:a16="http://schemas.microsoft.com/office/drawing/2014/main" id="{4C005D15-F5D1-4485-B215-6529C2725E76}"/>
              </a:ext>
            </a:extLst>
          </p:cNvPr>
          <p:cNvGrpSpPr/>
          <p:nvPr/>
        </p:nvGrpSpPr>
        <p:grpSpPr>
          <a:xfrm>
            <a:off x="4305963" y="1906550"/>
            <a:ext cx="2050741" cy="1652502"/>
            <a:chOff x="4305963" y="1745587"/>
            <a:chExt cx="2050741" cy="1813464"/>
          </a:xfrm>
        </p:grpSpPr>
        <p:sp>
          <p:nvSpPr>
            <p:cNvPr id="572" name="Текст 2">
              <a:extLst>
                <a:ext uri="{FF2B5EF4-FFF2-40B4-BE49-F238E27FC236}">
                  <a16:creationId xmlns:a16="http://schemas.microsoft.com/office/drawing/2014/main" id="{77ECA745-F7E1-4DEF-B2FD-295F60692460}"/>
                </a:ext>
              </a:extLst>
            </p:cNvPr>
            <p:cNvSpPr txBox="1">
              <a:spLocks/>
            </p:cNvSpPr>
            <p:nvPr/>
          </p:nvSpPr>
          <p:spPr>
            <a:xfrm>
              <a:off x="4305963" y="1745587"/>
              <a:ext cx="2050741" cy="24622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СПО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cxnSp>
          <p:nvCxnSpPr>
            <p:cNvPr id="573" name="Straight Connector 206">
              <a:extLst>
                <a:ext uri="{FF2B5EF4-FFF2-40B4-BE49-F238E27FC236}">
                  <a16:creationId xmlns:a16="http://schemas.microsoft.com/office/drawing/2014/main" id="{25F70D8F-EF37-4167-AA18-E8B8F0583CDE}"/>
                </a:ext>
              </a:extLst>
            </p:cNvPr>
            <p:cNvCxnSpPr>
              <a:cxnSpLocks/>
            </p:cNvCxnSpPr>
            <p:nvPr/>
          </p:nvCxnSpPr>
          <p:spPr>
            <a:xfrm>
              <a:off x="4305963" y="2119745"/>
              <a:ext cx="601" cy="1439306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</p:grpSp>
      <p:grpSp>
        <p:nvGrpSpPr>
          <p:cNvPr id="574" name="Группа 573">
            <a:extLst>
              <a:ext uri="{FF2B5EF4-FFF2-40B4-BE49-F238E27FC236}">
                <a16:creationId xmlns:a16="http://schemas.microsoft.com/office/drawing/2014/main" id="{94172386-C51D-482B-9A4E-1DFD420FFB32}"/>
              </a:ext>
            </a:extLst>
          </p:cNvPr>
          <p:cNvGrpSpPr/>
          <p:nvPr/>
        </p:nvGrpSpPr>
        <p:grpSpPr>
          <a:xfrm>
            <a:off x="5315011" y="3956876"/>
            <a:ext cx="1799758" cy="763265"/>
            <a:chOff x="5315011" y="3956876"/>
            <a:chExt cx="1799758" cy="763265"/>
          </a:xfrm>
        </p:grpSpPr>
        <p:sp>
          <p:nvSpPr>
            <p:cNvPr id="575" name="Текст 2">
              <a:extLst>
                <a:ext uri="{FF2B5EF4-FFF2-40B4-BE49-F238E27FC236}">
                  <a16:creationId xmlns:a16="http://schemas.microsoft.com/office/drawing/2014/main" id="{87C169F9-E558-4BE4-B4CA-89E92D3B2BEF}"/>
                </a:ext>
              </a:extLst>
            </p:cNvPr>
            <p:cNvSpPr txBox="1">
              <a:spLocks/>
            </p:cNvSpPr>
            <p:nvPr/>
          </p:nvSpPr>
          <p:spPr>
            <a:xfrm>
              <a:off x="5315011" y="4473920"/>
              <a:ext cx="1799758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lang="ru-RU" sz="1600" b="1" dirty="0" smtClean="0">
                  <a:solidFill>
                    <a:srgbClr val="CD441F"/>
                  </a:solidFill>
                  <a:latin typeface="Arial" panose="020B0604020202020204"/>
                </a:rPr>
                <a:t>10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CD441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-е 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CD441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классы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CD441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cxnSp>
          <p:nvCxnSpPr>
            <p:cNvPr id="576" name="Straight Connector 209">
              <a:extLst>
                <a:ext uri="{FF2B5EF4-FFF2-40B4-BE49-F238E27FC236}">
                  <a16:creationId xmlns:a16="http://schemas.microsoft.com/office/drawing/2014/main" id="{5DB96980-1EE4-4192-8CBD-8D8A3FC69ACE}"/>
                </a:ext>
              </a:extLst>
            </p:cNvPr>
            <p:cNvCxnSpPr>
              <a:cxnSpLocks/>
            </p:cNvCxnSpPr>
            <p:nvPr/>
          </p:nvCxnSpPr>
          <p:spPr>
            <a:xfrm>
              <a:off x="5379373" y="3956876"/>
              <a:ext cx="0" cy="396006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</p:grpSp>
      <p:grpSp>
        <p:nvGrpSpPr>
          <p:cNvPr id="577" name="Группа 576">
            <a:extLst>
              <a:ext uri="{FF2B5EF4-FFF2-40B4-BE49-F238E27FC236}">
                <a16:creationId xmlns:a16="http://schemas.microsoft.com/office/drawing/2014/main" id="{512ABF12-1D14-4891-B84B-19DEE8F5DB46}"/>
              </a:ext>
            </a:extLst>
          </p:cNvPr>
          <p:cNvGrpSpPr/>
          <p:nvPr/>
        </p:nvGrpSpPr>
        <p:grpSpPr>
          <a:xfrm>
            <a:off x="6368416" y="2346321"/>
            <a:ext cx="2050741" cy="1251458"/>
            <a:chOff x="6368416" y="2346321"/>
            <a:chExt cx="2050741" cy="1251458"/>
          </a:xfrm>
        </p:grpSpPr>
        <p:sp>
          <p:nvSpPr>
            <p:cNvPr id="578" name="Текст 2">
              <a:extLst>
                <a:ext uri="{FF2B5EF4-FFF2-40B4-BE49-F238E27FC236}">
                  <a16:creationId xmlns:a16="http://schemas.microsoft.com/office/drawing/2014/main" id="{1E58E071-0862-4E6B-BAF2-FB58A26D9486}"/>
                </a:ext>
              </a:extLst>
            </p:cNvPr>
            <p:cNvSpPr txBox="1">
              <a:spLocks/>
            </p:cNvSpPr>
            <p:nvPr/>
          </p:nvSpPr>
          <p:spPr>
            <a:xfrm>
              <a:off x="6368416" y="2346321"/>
              <a:ext cx="2050741" cy="24622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CD441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11-е 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CD441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классы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CD441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cxnSp>
          <p:nvCxnSpPr>
            <p:cNvPr id="579" name="Straight Connector 211">
              <a:extLst>
                <a:ext uri="{FF2B5EF4-FFF2-40B4-BE49-F238E27FC236}">
                  <a16:creationId xmlns:a16="http://schemas.microsoft.com/office/drawing/2014/main" id="{9B0D0D38-33A9-4F47-B08B-8A60F519FF2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36539" y="2678323"/>
              <a:ext cx="3198" cy="919456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</p:grpSp>
      <p:grpSp>
        <p:nvGrpSpPr>
          <p:cNvPr id="580" name="Группа 579">
            <a:extLst>
              <a:ext uri="{FF2B5EF4-FFF2-40B4-BE49-F238E27FC236}">
                <a16:creationId xmlns:a16="http://schemas.microsoft.com/office/drawing/2014/main" id="{03198076-352B-4714-987A-BD6D920D009E}"/>
              </a:ext>
            </a:extLst>
          </p:cNvPr>
          <p:cNvGrpSpPr/>
          <p:nvPr/>
        </p:nvGrpSpPr>
        <p:grpSpPr>
          <a:xfrm>
            <a:off x="7449430" y="3996062"/>
            <a:ext cx="2050741" cy="1933123"/>
            <a:chOff x="7449430" y="3996062"/>
            <a:chExt cx="2050741" cy="1933123"/>
          </a:xfrm>
        </p:grpSpPr>
        <p:sp>
          <p:nvSpPr>
            <p:cNvPr id="581" name="Текст 2">
              <a:extLst>
                <a:ext uri="{FF2B5EF4-FFF2-40B4-BE49-F238E27FC236}">
                  <a16:creationId xmlns:a16="http://schemas.microsoft.com/office/drawing/2014/main" id="{4BF43C43-4583-46E4-ACE2-685C49D306B2}"/>
                </a:ext>
              </a:extLst>
            </p:cNvPr>
            <p:cNvSpPr txBox="1">
              <a:spLocks/>
            </p:cNvSpPr>
            <p:nvPr/>
          </p:nvSpPr>
          <p:spPr>
            <a:xfrm>
              <a:off x="7449430" y="5416224"/>
              <a:ext cx="2050741" cy="51296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lang="ru-RU" sz="1600" b="1" dirty="0">
                  <a:solidFill>
                    <a:srgbClr val="88192B"/>
                  </a:solidFill>
                  <a:latin typeface="Arial" panose="020B0604020202020204"/>
                </a:rPr>
                <a:t>ТУ УГМК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Euclid Circular B" panose="020B0504000000000000" pitchFamily="34" charset="-52"/>
                  <a:cs typeface="+mn-cs"/>
                  <a:sym typeface="+mn-lt"/>
                </a:rPr>
                <a:t>60-70 абитуриентов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cxnSp>
          <p:nvCxnSpPr>
            <p:cNvPr id="582" name="Straight Connector 212">
              <a:extLst>
                <a:ext uri="{FF2B5EF4-FFF2-40B4-BE49-F238E27FC236}">
                  <a16:creationId xmlns:a16="http://schemas.microsoft.com/office/drawing/2014/main" id="{083384AA-5C49-4D0B-8E5D-BA299DCB4AB5}"/>
                </a:ext>
              </a:extLst>
            </p:cNvPr>
            <p:cNvCxnSpPr>
              <a:cxnSpLocks/>
            </p:cNvCxnSpPr>
            <p:nvPr/>
          </p:nvCxnSpPr>
          <p:spPr>
            <a:xfrm>
              <a:off x="7513793" y="3996062"/>
              <a:ext cx="0" cy="1295574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</p:grpSp>
      <p:grpSp>
        <p:nvGrpSpPr>
          <p:cNvPr id="583" name="Группа 582">
            <a:extLst>
              <a:ext uri="{FF2B5EF4-FFF2-40B4-BE49-F238E27FC236}">
                <a16:creationId xmlns:a16="http://schemas.microsoft.com/office/drawing/2014/main" id="{5CF3647A-47FB-4C7F-865C-2AC82652C6B7}"/>
              </a:ext>
            </a:extLst>
          </p:cNvPr>
          <p:cNvGrpSpPr/>
          <p:nvPr/>
        </p:nvGrpSpPr>
        <p:grpSpPr>
          <a:xfrm>
            <a:off x="8497826" y="1608872"/>
            <a:ext cx="2050741" cy="1941554"/>
            <a:chOff x="8497826" y="1608872"/>
            <a:chExt cx="2050741" cy="1941554"/>
          </a:xfrm>
        </p:grpSpPr>
        <p:sp>
          <p:nvSpPr>
            <p:cNvPr id="584" name="Текст 2">
              <a:extLst>
                <a:ext uri="{FF2B5EF4-FFF2-40B4-BE49-F238E27FC236}">
                  <a16:creationId xmlns:a16="http://schemas.microsoft.com/office/drawing/2014/main" id="{9AA00809-4399-4A37-9CE1-A72E3968705E}"/>
                </a:ext>
              </a:extLst>
            </p:cNvPr>
            <p:cNvSpPr txBox="1">
              <a:spLocks/>
            </p:cNvSpPr>
            <p:nvPr/>
          </p:nvSpPr>
          <p:spPr>
            <a:xfrm>
              <a:off x="8497826" y="1608872"/>
              <a:ext cx="2050741" cy="51296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88192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Прочие ВУЗы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88192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Euclid Circular B" panose="020B0504000000000000" pitchFamily="34" charset="-52"/>
                  <a:cs typeface="+mn-cs"/>
                  <a:sym typeface="+mn-lt"/>
                </a:rPr>
                <a:t>30-40 абитуриентов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cxnSp>
          <p:nvCxnSpPr>
            <p:cNvPr id="585" name="Straight Connector 213">
              <a:extLst>
                <a:ext uri="{FF2B5EF4-FFF2-40B4-BE49-F238E27FC236}">
                  <a16:creationId xmlns:a16="http://schemas.microsoft.com/office/drawing/2014/main" id="{C8656296-B9CE-4937-93E6-0921E9CB5FA5}"/>
                </a:ext>
              </a:extLst>
            </p:cNvPr>
            <p:cNvCxnSpPr>
              <a:cxnSpLocks/>
            </p:cNvCxnSpPr>
            <p:nvPr/>
          </p:nvCxnSpPr>
          <p:spPr>
            <a:xfrm>
              <a:off x="8571144" y="2255572"/>
              <a:ext cx="0" cy="1294854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</p:grpSp>
      <p:grpSp>
        <p:nvGrpSpPr>
          <p:cNvPr id="586" name="Группа 585">
            <a:extLst>
              <a:ext uri="{FF2B5EF4-FFF2-40B4-BE49-F238E27FC236}">
                <a16:creationId xmlns:a16="http://schemas.microsoft.com/office/drawing/2014/main" id="{E45AAF0E-379E-4982-AE43-9D051342A16F}"/>
              </a:ext>
            </a:extLst>
          </p:cNvPr>
          <p:cNvGrpSpPr/>
          <p:nvPr/>
        </p:nvGrpSpPr>
        <p:grpSpPr>
          <a:xfrm>
            <a:off x="9492408" y="3956876"/>
            <a:ext cx="1958618" cy="1276226"/>
            <a:chOff x="9492408" y="3956876"/>
            <a:chExt cx="1958618" cy="1276226"/>
          </a:xfrm>
        </p:grpSpPr>
        <p:sp>
          <p:nvSpPr>
            <p:cNvPr id="587" name="Текст 2">
              <a:extLst>
                <a:ext uri="{FF2B5EF4-FFF2-40B4-BE49-F238E27FC236}">
                  <a16:creationId xmlns:a16="http://schemas.microsoft.com/office/drawing/2014/main" id="{EC3D6006-A8CC-4E18-A4AA-5EEAACA938F8}"/>
                </a:ext>
              </a:extLst>
            </p:cNvPr>
            <p:cNvSpPr txBox="1">
              <a:spLocks/>
            </p:cNvSpPr>
            <p:nvPr/>
          </p:nvSpPr>
          <p:spPr>
            <a:xfrm>
              <a:off x="9492408" y="4473920"/>
              <a:ext cx="1958618" cy="75918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88192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  <a:sym typeface="+mn-lt"/>
                </a:rPr>
                <a:t>Трудоустройство в Организации УГМК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88192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Euclid Circular B" panose="020B0504000000000000" pitchFamily="34" charset="-52"/>
                  <a:cs typeface="+mn-cs"/>
                  <a:sym typeface="+mn-lt"/>
                </a:rPr>
                <a:t>100-130 выпускников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endParaRPr>
            </a:p>
          </p:txBody>
        </p:sp>
        <p:cxnSp>
          <p:nvCxnSpPr>
            <p:cNvPr id="588" name="Straight Connector 215">
              <a:extLst>
                <a:ext uri="{FF2B5EF4-FFF2-40B4-BE49-F238E27FC236}">
                  <a16:creationId xmlns:a16="http://schemas.microsoft.com/office/drawing/2014/main" id="{CEEAC25D-685D-4065-B74E-FCA5881F8624}"/>
                </a:ext>
              </a:extLst>
            </p:cNvPr>
            <p:cNvCxnSpPr>
              <a:cxnSpLocks/>
            </p:cNvCxnSpPr>
            <p:nvPr/>
          </p:nvCxnSpPr>
          <p:spPr>
            <a:xfrm>
              <a:off x="9648211" y="3956876"/>
              <a:ext cx="0" cy="396006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</p:grpSp>
      <p:grpSp>
        <p:nvGrpSpPr>
          <p:cNvPr id="209" name="Группа 208">
            <a:extLst>
              <a:ext uri="{FF2B5EF4-FFF2-40B4-BE49-F238E27FC236}">
                <a16:creationId xmlns:a16="http://schemas.microsoft.com/office/drawing/2014/main" id="{02009106-27A6-454F-BD66-4876545E2AF4}"/>
              </a:ext>
            </a:extLst>
          </p:cNvPr>
          <p:cNvGrpSpPr/>
          <p:nvPr/>
        </p:nvGrpSpPr>
        <p:grpSpPr>
          <a:xfrm>
            <a:off x="837631" y="3494710"/>
            <a:ext cx="550305" cy="550305"/>
            <a:chOff x="1729142" y="2873137"/>
            <a:chExt cx="550305" cy="550305"/>
          </a:xfrm>
        </p:grpSpPr>
        <p:sp>
          <p:nvSpPr>
            <p:cNvPr id="210" name="Овал 209">
              <a:extLst>
                <a:ext uri="{FF2B5EF4-FFF2-40B4-BE49-F238E27FC236}">
                  <a16:creationId xmlns:a16="http://schemas.microsoft.com/office/drawing/2014/main" id="{48D5BFAD-1C73-4365-8A0A-9F05E0A2D542}"/>
                </a:ext>
              </a:extLst>
            </p:cNvPr>
            <p:cNvSpPr/>
            <p:nvPr/>
          </p:nvSpPr>
          <p:spPr>
            <a:xfrm>
              <a:off x="1729142" y="2873137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11" name="Группа 210">
              <a:extLst>
                <a:ext uri="{FF2B5EF4-FFF2-40B4-BE49-F238E27FC236}">
                  <a16:creationId xmlns:a16="http://schemas.microsoft.com/office/drawing/2014/main" id="{BBB32C02-4096-49B3-9CA0-2FB2201D6B12}"/>
                </a:ext>
              </a:extLst>
            </p:cNvPr>
            <p:cNvGrpSpPr/>
            <p:nvPr/>
          </p:nvGrpSpPr>
          <p:grpSpPr>
            <a:xfrm>
              <a:off x="1845329" y="2996127"/>
              <a:ext cx="325450" cy="300742"/>
              <a:chOff x="1845329" y="2996127"/>
              <a:chExt cx="325450" cy="300742"/>
            </a:xfrm>
          </p:grpSpPr>
          <p:sp>
            <p:nvSpPr>
              <p:cNvPr id="212" name="Рисунок 61">
                <a:extLst>
                  <a:ext uri="{FF2B5EF4-FFF2-40B4-BE49-F238E27FC236}">
                    <a16:creationId xmlns:a16="http://schemas.microsoft.com/office/drawing/2014/main" id="{B000E3CD-095C-4B2B-943A-9F3760CB3172}"/>
                  </a:ext>
                </a:extLst>
              </p:cNvPr>
              <p:cNvSpPr/>
              <p:nvPr/>
            </p:nvSpPr>
            <p:spPr>
              <a:xfrm>
                <a:off x="1845329" y="3130674"/>
                <a:ext cx="107050" cy="101751"/>
              </a:xfrm>
              <a:custGeom>
                <a:avLst/>
                <a:gdLst>
                  <a:gd name="connsiteX0" fmla="*/ 101680 w 107050"/>
                  <a:gd name="connsiteY0" fmla="*/ 101751 h 101751"/>
                  <a:gd name="connsiteX1" fmla="*/ 5370 w 107050"/>
                  <a:gd name="connsiteY1" fmla="*/ 101751 h 101751"/>
                  <a:gd name="connsiteX2" fmla="*/ 0 w 107050"/>
                  <a:gd name="connsiteY2" fmla="*/ 96381 h 101751"/>
                  <a:gd name="connsiteX3" fmla="*/ 94484 w 107050"/>
                  <a:gd name="connsiteY3" fmla="*/ 0 h 101751"/>
                  <a:gd name="connsiteX4" fmla="*/ 99854 w 107050"/>
                  <a:gd name="connsiteY4" fmla="*/ 5370 h 101751"/>
                  <a:gd name="connsiteX5" fmla="*/ 94484 w 107050"/>
                  <a:gd name="connsiteY5" fmla="*/ 10741 h 101751"/>
                  <a:gd name="connsiteX6" fmla="*/ 10884 w 107050"/>
                  <a:gd name="connsiteY6" fmla="*/ 91011 h 101751"/>
                  <a:gd name="connsiteX7" fmla="*/ 101680 w 107050"/>
                  <a:gd name="connsiteY7" fmla="*/ 91011 h 101751"/>
                  <a:gd name="connsiteX8" fmla="*/ 107050 w 107050"/>
                  <a:gd name="connsiteY8" fmla="*/ 96381 h 101751"/>
                  <a:gd name="connsiteX9" fmla="*/ 101680 w 107050"/>
                  <a:gd name="connsiteY9" fmla="*/ 101751 h 10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7050" h="101751">
                    <a:moveTo>
                      <a:pt x="101680" y="101751"/>
                    </a:moveTo>
                    <a:lnTo>
                      <a:pt x="5370" y="101751"/>
                    </a:lnTo>
                    <a:cubicBezTo>
                      <a:pt x="2404" y="101751"/>
                      <a:pt x="0" y="99347"/>
                      <a:pt x="0" y="96381"/>
                    </a:cubicBezTo>
                    <a:cubicBezTo>
                      <a:pt x="0" y="43250"/>
                      <a:pt x="42390" y="0"/>
                      <a:pt x="94484" y="0"/>
                    </a:cubicBezTo>
                    <a:cubicBezTo>
                      <a:pt x="97449" y="0"/>
                      <a:pt x="99854" y="2405"/>
                      <a:pt x="99854" y="5370"/>
                    </a:cubicBezTo>
                    <a:cubicBezTo>
                      <a:pt x="99854" y="8336"/>
                      <a:pt x="97449" y="10741"/>
                      <a:pt x="94484" y="10741"/>
                    </a:cubicBezTo>
                    <a:cubicBezTo>
                      <a:pt x="49802" y="11247"/>
                      <a:pt x="13205" y="46387"/>
                      <a:pt x="10884" y="91011"/>
                    </a:cubicBezTo>
                    <a:lnTo>
                      <a:pt x="101680" y="91011"/>
                    </a:lnTo>
                    <a:cubicBezTo>
                      <a:pt x="104646" y="91011"/>
                      <a:pt x="107050" y="93415"/>
                      <a:pt x="107050" y="96381"/>
                    </a:cubicBezTo>
                    <a:cubicBezTo>
                      <a:pt x="107050" y="99347"/>
                      <a:pt x="104646" y="101751"/>
                      <a:pt x="101680" y="10175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3" name="Рисунок 61">
                <a:extLst>
                  <a:ext uri="{FF2B5EF4-FFF2-40B4-BE49-F238E27FC236}">
                    <a16:creationId xmlns:a16="http://schemas.microsoft.com/office/drawing/2014/main" id="{D8A8FCEB-F729-41C4-BF07-9EFE69D4DF54}"/>
                  </a:ext>
                </a:extLst>
              </p:cNvPr>
              <p:cNvSpPr/>
              <p:nvPr/>
            </p:nvSpPr>
            <p:spPr>
              <a:xfrm>
                <a:off x="1880774" y="2996127"/>
                <a:ext cx="118149" cy="118149"/>
              </a:xfrm>
              <a:custGeom>
                <a:avLst/>
                <a:gdLst>
                  <a:gd name="connsiteX0" fmla="*/ 59075 w 118149"/>
                  <a:gd name="connsiteY0" fmla="*/ 118149 h 118149"/>
                  <a:gd name="connsiteX1" fmla="*/ 0 w 118149"/>
                  <a:gd name="connsiteY1" fmla="*/ 59075 h 118149"/>
                  <a:gd name="connsiteX2" fmla="*/ 59075 w 118149"/>
                  <a:gd name="connsiteY2" fmla="*/ 0 h 118149"/>
                  <a:gd name="connsiteX3" fmla="*/ 118149 w 118149"/>
                  <a:gd name="connsiteY3" fmla="*/ 59075 h 118149"/>
                  <a:gd name="connsiteX4" fmla="*/ 59075 w 118149"/>
                  <a:gd name="connsiteY4" fmla="*/ 118149 h 118149"/>
                  <a:gd name="connsiteX5" fmla="*/ 59075 w 118149"/>
                  <a:gd name="connsiteY5" fmla="*/ 10741 h 118149"/>
                  <a:gd name="connsiteX6" fmla="*/ 10741 w 118149"/>
                  <a:gd name="connsiteY6" fmla="*/ 59075 h 118149"/>
                  <a:gd name="connsiteX7" fmla="*/ 59075 w 118149"/>
                  <a:gd name="connsiteY7" fmla="*/ 107408 h 118149"/>
                  <a:gd name="connsiteX8" fmla="*/ 107408 w 118149"/>
                  <a:gd name="connsiteY8" fmla="*/ 59075 h 118149"/>
                  <a:gd name="connsiteX9" fmla="*/ 59075 w 118149"/>
                  <a:gd name="connsiteY9" fmla="*/ 10741 h 118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8149" h="118149">
                    <a:moveTo>
                      <a:pt x="59075" y="118149"/>
                    </a:moveTo>
                    <a:cubicBezTo>
                      <a:pt x="26449" y="118149"/>
                      <a:pt x="0" y="91701"/>
                      <a:pt x="0" y="59075"/>
                    </a:cubicBezTo>
                    <a:cubicBezTo>
                      <a:pt x="0" y="26449"/>
                      <a:pt x="26449" y="0"/>
                      <a:pt x="59075" y="0"/>
                    </a:cubicBezTo>
                    <a:cubicBezTo>
                      <a:pt x="91701" y="0"/>
                      <a:pt x="118149" y="26449"/>
                      <a:pt x="118149" y="59075"/>
                    </a:cubicBezTo>
                    <a:cubicBezTo>
                      <a:pt x="118110" y="91684"/>
                      <a:pt x="91684" y="118110"/>
                      <a:pt x="59075" y="118149"/>
                    </a:cubicBezTo>
                    <a:close/>
                    <a:moveTo>
                      <a:pt x="59075" y="10741"/>
                    </a:moveTo>
                    <a:cubicBezTo>
                      <a:pt x="32381" y="10741"/>
                      <a:pt x="10741" y="32381"/>
                      <a:pt x="10741" y="59075"/>
                    </a:cubicBezTo>
                    <a:cubicBezTo>
                      <a:pt x="10741" y="85768"/>
                      <a:pt x="32381" y="107408"/>
                      <a:pt x="59075" y="107408"/>
                    </a:cubicBezTo>
                    <a:cubicBezTo>
                      <a:pt x="85768" y="107408"/>
                      <a:pt x="107408" y="85768"/>
                      <a:pt x="107408" y="59075"/>
                    </a:cubicBezTo>
                    <a:cubicBezTo>
                      <a:pt x="107369" y="32397"/>
                      <a:pt x="85752" y="10780"/>
                      <a:pt x="59075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4" name="Рисунок 61">
                <a:extLst>
                  <a:ext uri="{FF2B5EF4-FFF2-40B4-BE49-F238E27FC236}">
                    <a16:creationId xmlns:a16="http://schemas.microsoft.com/office/drawing/2014/main" id="{D46EC87A-0165-4D0E-BFEC-34D3E6D3A27F}"/>
                  </a:ext>
                </a:extLst>
              </p:cNvPr>
              <p:cNvSpPr/>
              <p:nvPr/>
            </p:nvSpPr>
            <p:spPr>
              <a:xfrm>
                <a:off x="1883312" y="3150469"/>
                <a:ext cx="61942" cy="24922"/>
              </a:xfrm>
              <a:custGeom>
                <a:avLst/>
                <a:gdLst>
                  <a:gd name="connsiteX0" fmla="*/ 56465 w 61942"/>
                  <a:gd name="connsiteY0" fmla="*/ 24922 h 24922"/>
                  <a:gd name="connsiteX1" fmla="*/ 2581 w 61942"/>
                  <a:gd name="connsiteY1" fmla="*/ 9993 h 24922"/>
                  <a:gd name="connsiteX2" fmla="*/ 791 w 61942"/>
                  <a:gd name="connsiteY2" fmla="*/ 2581 h 24922"/>
                  <a:gd name="connsiteX3" fmla="*/ 8202 w 61942"/>
                  <a:gd name="connsiteY3" fmla="*/ 791 h 24922"/>
                  <a:gd name="connsiteX4" fmla="*/ 56572 w 61942"/>
                  <a:gd name="connsiteY4" fmla="*/ 14181 h 24922"/>
                  <a:gd name="connsiteX5" fmla="*/ 61942 w 61942"/>
                  <a:gd name="connsiteY5" fmla="*/ 19552 h 24922"/>
                  <a:gd name="connsiteX6" fmla="*/ 56572 w 61942"/>
                  <a:gd name="connsiteY6" fmla="*/ 24922 h 24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1942" h="24922">
                    <a:moveTo>
                      <a:pt x="56465" y="24922"/>
                    </a:moveTo>
                    <a:cubicBezTo>
                      <a:pt x="37481" y="24936"/>
                      <a:pt x="18852" y="19774"/>
                      <a:pt x="2581" y="9993"/>
                    </a:cubicBezTo>
                    <a:cubicBezTo>
                      <a:pt x="40" y="8441"/>
                      <a:pt x="-761" y="5122"/>
                      <a:pt x="791" y="2581"/>
                    </a:cubicBezTo>
                    <a:cubicBezTo>
                      <a:pt x="2343" y="40"/>
                      <a:pt x="5662" y="-761"/>
                      <a:pt x="8202" y="791"/>
                    </a:cubicBezTo>
                    <a:cubicBezTo>
                      <a:pt x="22808" y="9570"/>
                      <a:pt x="39531" y="14200"/>
                      <a:pt x="56572" y="14181"/>
                    </a:cubicBezTo>
                    <a:cubicBezTo>
                      <a:pt x="59538" y="14181"/>
                      <a:pt x="61942" y="16586"/>
                      <a:pt x="61942" y="19552"/>
                    </a:cubicBezTo>
                    <a:cubicBezTo>
                      <a:pt x="61942" y="22518"/>
                      <a:pt x="59538" y="24922"/>
                      <a:pt x="56572" y="24922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5" name="Рисунок 61">
                <a:extLst>
                  <a:ext uri="{FF2B5EF4-FFF2-40B4-BE49-F238E27FC236}">
                    <a16:creationId xmlns:a16="http://schemas.microsoft.com/office/drawing/2014/main" id="{280BCD9A-DA24-4651-B9C4-2703E91401F0}"/>
                  </a:ext>
                </a:extLst>
              </p:cNvPr>
              <p:cNvSpPr/>
              <p:nvPr/>
            </p:nvSpPr>
            <p:spPr>
              <a:xfrm>
                <a:off x="1887790" y="3023190"/>
                <a:ext cx="103936" cy="24600"/>
              </a:xfrm>
              <a:custGeom>
                <a:avLst/>
                <a:gdLst>
                  <a:gd name="connsiteX0" fmla="*/ 98566 w 103936"/>
                  <a:gd name="connsiteY0" fmla="*/ 24421 h 24600"/>
                  <a:gd name="connsiteX1" fmla="*/ 67489 w 103936"/>
                  <a:gd name="connsiteY1" fmla="*/ 12320 h 24600"/>
                  <a:gd name="connsiteX2" fmla="*/ 2078 w 103936"/>
                  <a:gd name="connsiteY2" fmla="*/ 12642 h 24600"/>
                  <a:gd name="connsiteX3" fmla="*/ 1129 w 103936"/>
                  <a:gd name="connsiteY3" fmla="*/ 5106 h 24600"/>
                  <a:gd name="connsiteX4" fmla="*/ 8665 w 103936"/>
                  <a:gd name="connsiteY4" fmla="*/ 4157 h 24600"/>
                  <a:gd name="connsiteX5" fmla="*/ 65699 w 103936"/>
                  <a:gd name="connsiteY5" fmla="*/ 899 h 24600"/>
                  <a:gd name="connsiteX6" fmla="*/ 73145 w 103936"/>
                  <a:gd name="connsiteY6" fmla="*/ 2397 h 24600"/>
                  <a:gd name="connsiteX7" fmla="*/ 73218 w 103936"/>
                  <a:gd name="connsiteY7" fmla="*/ 2510 h 24600"/>
                  <a:gd name="connsiteX8" fmla="*/ 98566 w 103936"/>
                  <a:gd name="connsiteY8" fmla="*/ 13860 h 24600"/>
                  <a:gd name="connsiteX9" fmla="*/ 103936 w 103936"/>
                  <a:gd name="connsiteY9" fmla="*/ 19230 h 24600"/>
                  <a:gd name="connsiteX10" fmla="*/ 98566 w 103936"/>
                  <a:gd name="connsiteY10" fmla="*/ 24600 h 24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3936" h="24600">
                    <a:moveTo>
                      <a:pt x="98566" y="24421"/>
                    </a:moveTo>
                    <a:cubicBezTo>
                      <a:pt x="86989" y="24803"/>
                      <a:pt x="75760" y="20430"/>
                      <a:pt x="67489" y="12320"/>
                    </a:cubicBezTo>
                    <a:cubicBezTo>
                      <a:pt x="56748" y="18335"/>
                      <a:pt x="26531" y="31654"/>
                      <a:pt x="2078" y="12642"/>
                    </a:cubicBezTo>
                    <a:cubicBezTo>
                      <a:pt x="-266" y="10823"/>
                      <a:pt x="-690" y="7449"/>
                      <a:pt x="1129" y="5106"/>
                    </a:cubicBezTo>
                    <a:cubicBezTo>
                      <a:pt x="2948" y="2762"/>
                      <a:pt x="6322" y="2338"/>
                      <a:pt x="8665" y="4157"/>
                    </a:cubicBezTo>
                    <a:cubicBezTo>
                      <a:pt x="32367" y="22595"/>
                      <a:pt x="65377" y="1114"/>
                      <a:pt x="65699" y="899"/>
                    </a:cubicBezTo>
                    <a:cubicBezTo>
                      <a:pt x="68169" y="-743"/>
                      <a:pt x="71502" y="-72"/>
                      <a:pt x="73145" y="2397"/>
                    </a:cubicBezTo>
                    <a:cubicBezTo>
                      <a:pt x="73170" y="2435"/>
                      <a:pt x="73194" y="2472"/>
                      <a:pt x="73218" y="2510"/>
                    </a:cubicBezTo>
                    <a:cubicBezTo>
                      <a:pt x="73504" y="2940"/>
                      <a:pt x="80915" y="13860"/>
                      <a:pt x="98566" y="13860"/>
                    </a:cubicBezTo>
                    <a:cubicBezTo>
                      <a:pt x="101532" y="13860"/>
                      <a:pt x="103936" y="16264"/>
                      <a:pt x="103936" y="19230"/>
                    </a:cubicBezTo>
                    <a:cubicBezTo>
                      <a:pt x="103936" y="22196"/>
                      <a:pt x="101532" y="24600"/>
                      <a:pt x="98566" y="24600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6" name="Рисунок 61">
                <a:extLst>
                  <a:ext uri="{FF2B5EF4-FFF2-40B4-BE49-F238E27FC236}">
                    <a16:creationId xmlns:a16="http://schemas.microsoft.com/office/drawing/2014/main" id="{9D9ED747-59DB-48FE-9360-F0F3E838E15D}"/>
                  </a:ext>
                </a:extLst>
              </p:cNvPr>
              <p:cNvSpPr/>
              <p:nvPr/>
            </p:nvSpPr>
            <p:spPr>
              <a:xfrm>
                <a:off x="2060247" y="3118286"/>
                <a:ext cx="110532" cy="74756"/>
              </a:xfrm>
              <a:custGeom>
                <a:avLst/>
                <a:gdLst>
                  <a:gd name="connsiteX0" fmla="*/ 105159 w 110532"/>
                  <a:gd name="connsiteY0" fmla="*/ 74756 h 74756"/>
                  <a:gd name="connsiteX1" fmla="*/ 8492 w 110532"/>
                  <a:gd name="connsiteY1" fmla="*/ 74756 h 74756"/>
                  <a:gd name="connsiteX2" fmla="*/ 3121 w 110532"/>
                  <a:gd name="connsiteY2" fmla="*/ 69386 h 74756"/>
                  <a:gd name="connsiteX3" fmla="*/ 8492 w 110532"/>
                  <a:gd name="connsiteY3" fmla="*/ 64016 h 74756"/>
                  <a:gd name="connsiteX4" fmla="*/ 99538 w 110532"/>
                  <a:gd name="connsiteY4" fmla="*/ 64016 h 74756"/>
                  <a:gd name="connsiteX5" fmla="*/ 42504 w 110532"/>
                  <a:gd name="connsiteY5" fmla="*/ 10741 h 74756"/>
                  <a:gd name="connsiteX6" fmla="*/ 8456 w 110532"/>
                  <a:gd name="connsiteY6" fmla="*/ 22198 h 74756"/>
                  <a:gd name="connsiteX7" fmla="*/ 975 w 110532"/>
                  <a:gd name="connsiteY7" fmla="*/ 20887 h 74756"/>
                  <a:gd name="connsiteX8" fmla="*/ 1975 w 110532"/>
                  <a:gd name="connsiteY8" fmla="*/ 13641 h 74756"/>
                  <a:gd name="connsiteX9" fmla="*/ 42504 w 110532"/>
                  <a:gd name="connsiteY9" fmla="*/ 0 h 74756"/>
                  <a:gd name="connsiteX10" fmla="*/ 110529 w 110532"/>
                  <a:gd name="connsiteY10" fmla="*/ 69386 h 74756"/>
                  <a:gd name="connsiteX11" fmla="*/ 105159 w 110532"/>
                  <a:gd name="connsiteY11" fmla="*/ 74756 h 74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0532" h="74756">
                    <a:moveTo>
                      <a:pt x="105159" y="74756"/>
                    </a:moveTo>
                    <a:lnTo>
                      <a:pt x="8492" y="74756"/>
                    </a:lnTo>
                    <a:cubicBezTo>
                      <a:pt x="5526" y="74756"/>
                      <a:pt x="3121" y="72352"/>
                      <a:pt x="3121" y="69386"/>
                    </a:cubicBezTo>
                    <a:cubicBezTo>
                      <a:pt x="3121" y="66420"/>
                      <a:pt x="5526" y="64016"/>
                      <a:pt x="8492" y="64016"/>
                    </a:cubicBezTo>
                    <a:lnTo>
                      <a:pt x="99538" y="64016"/>
                    </a:lnTo>
                    <a:cubicBezTo>
                      <a:pt x="97153" y="34186"/>
                      <a:pt x="72427" y="11090"/>
                      <a:pt x="42504" y="10741"/>
                    </a:cubicBezTo>
                    <a:cubicBezTo>
                      <a:pt x="30204" y="10714"/>
                      <a:pt x="18238" y="14741"/>
                      <a:pt x="8456" y="22198"/>
                    </a:cubicBezTo>
                    <a:cubicBezTo>
                      <a:pt x="6028" y="23902"/>
                      <a:pt x="2679" y="23315"/>
                      <a:pt x="975" y="20887"/>
                    </a:cubicBezTo>
                    <a:cubicBezTo>
                      <a:pt x="-642" y="18583"/>
                      <a:pt x="-206" y="15421"/>
                      <a:pt x="1975" y="13641"/>
                    </a:cubicBezTo>
                    <a:cubicBezTo>
                      <a:pt x="13618" y="4762"/>
                      <a:pt x="27862" y="-32"/>
                      <a:pt x="42504" y="0"/>
                    </a:cubicBezTo>
                    <a:cubicBezTo>
                      <a:pt x="80433" y="413"/>
                      <a:pt x="110867" y="31456"/>
                      <a:pt x="110529" y="69386"/>
                    </a:cubicBezTo>
                    <a:cubicBezTo>
                      <a:pt x="110529" y="72352"/>
                      <a:pt x="108125" y="74756"/>
                      <a:pt x="105159" y="747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7" name="Рисунок 61">
                <a:extLst>
                  <a:ext uri="{FF2B5EF4-FFF2-40B4-BE49-F238E27FC236}">
                    <a16:creationId xmlns:a16="http://schemas.microsoft.com/office/drawing/2014/main" id="{EE01DCE1-A935-446C-84CA-A7274F7BA749}"/>
                  </a:ext>
                </a:extLst>
              </p:cNvPr>
              <p:cNvSpPr/>
              <p:nvPr/>
            </p:nvSpPr>
            <p:spPr>
              <a:xfrm>
                <a:off x="2056208" y="3014028"/>
                <a:ext cx="93087" cy="93087"/>
              </a:xfrm>
              <a:custGeom>
                <a:avLst/>
                <a:gdLst>
                  <a:gd name="connsiteX0" fmla="*/ 46544 w 93087"/>
                  <a:gd name="connsiteY0" fmla="*/ 93087 h 93087"/>
                  <a:gd name="connsiteX1" fmla="*/ 0 w 93087"/>
                  <a:gd name="connsiteY1" fmla="*/ 46544 h 93087"/>
                  <a:gd name="connsiteX2" fmla="*/ 46544 w 93087"/>
                  <a:gd name="connsiteY2" fmla="*/ 0 h 93087"/>
                  <a:gd name="connsiteX3" fmla="*/ 93087 w 93087"/>
                  <a:gd name="connsiteY3" fmla="*/ 46544 h 93087"/>
                  <a:gd name="connsiteX4" fmla="*/ 46544 w 93087"/>
                  <a:gd name="connsiteY4" fmla="*/ 93087 h 93087"/>
                  <a:gd name="connsiteX5" fmla="*/ 46544 w 93087"/>
                  <a:gd name="connsiteY5" fmla="*/ 10741 h 93087"/>
                  <a:gd name="connsiteX6" fmla="*/ 10741 w 93087"/>
                  <a:gd name="connsiteY6" fmla="*/ 46544 h 93087"/>
                  <a:gd name="connsiteX7" fmla="*/ 46544 w 93087"/>
                  <a:gd name="connsiteY7" fmla="*/ 82346 h 93087"/>
                  <a:gd name="connsiteX8" fmla="*/ 82346 w 93087"/>
                  <a:gd name="connsiteY8" fmla="*/ 46544 h 93087"/>
                  <a:gd name="connsiteX9" fmla="*/ 46544 w 93087"/>
                  <a:gd name="connsiteY9" fmla="*/ 10741 h 93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087" h="93087">
                    <a:moveTo>
                      <a:pt x="46544" y="93087"/>
                    </a:moveTo>
                    <a:cubicBezTo>
                      <a:pt x="20838" y="93087"/>
                      <a:pt x="0" y="72249"/>
                      <a:pt x="0" y="46544"/>
                    </a:cubicBezTo>
                    <a:cubicBezTo>
                      <a:pt x="0" y="20838"/>
                      <a:pt x="20838" y="0"/>
                      <a:pt x="46544" y="0"/>
                    </a:cubicBezTo>
                    <a:cubicBezTo>
                      <a:pt x="72249" y="0"/>
                      <a:pt x="93087" y="20838"/>
                      <a:pt x="93087" y="46544"/>
                    </a:cubicBezTo>
                    <a:cubicBezTo>
                      <a:pt x="93087" y="72249"/>
                      <a:pt x="72249" y="93087"/>
                      <a:pt x="46544" y="93087"/>
                    </a:cubicBezTo>
                    <a:close/>
                    <a:moveTo>
                      <a:pt x="46544" y="10741"/>
                    </a:moveTo>
                    <a:cubicBezTo>
                      <a:pt x="26770" y="10741"/>
                      <a:pt x="10741" y="26770"/>
                      <a:pt x="10741" y="46544"/>
                    </a:cubicBezTo>
                    <a:cubicBezTo>
                      <a:pt x="10741" y="66317"/>
                      <a:pt x="26770" y="82346"/>
                      <a:pt x="46544" y="82346"/>
                    </a:cubicBezTo>
                    <a:cubicBezTo>
                      <a:pt x="66317" y="82346"/>
                      <a:pt x="82346" y="66317"/>
                      <a:pt x="82346" y="46544"/>
                    </a:cubicBezTo>
                    <a:cubicBezTo>
                      <a:pt x="82346" y="26770"/>
                      <a:pt x="66317" y="10741"/>
                      <a:pt x="46544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8" name="Рисунок 61">
                <a:extLst>
                  <a:ext uri="{FF2B5EF4-FFF2-40B4-BE49-F238E27FC236}">
                    <a16:creationId xmlns:a16="http://schemas.microsoft.com/office/drawing/2014/main" id="{B1AB6DF4-8E44-45B9-A033-33D7C2357650}"/>
                  </a:ext>
                </a:extLst>
              </p:cNvPr>
              <p:cNvSpPr/>
              <p:nvPr/>
            </p:nvSpPr>
            <p:spPr>
              <a:xfrm>
                <a:off x="2084792" y="3019985"/>
                <a:ext cx="64524" cy="45600"/>
              </a:xfrm>
              <a:custGeom>
                <a:avLst/>
                <a:gdLst>
                  <a:gd name="connsiteX0" fmla="*/ 45671 w 64524"/>
                  <a:gd name="connsiteY0" fmla="*/ 45599 h 45600"/>
                  <a:gd name="connsiteX1" fmla="*/ 58 w 64524"/>
                  <a:gd name="connsiteY1" fmla="*/ 6216 h 45600"/>
                  <a:gd name="connsiteX2" fmla="*/ 4641 w 64524"/>
                  <a:gd name="connsiteY2" fmla="*/ 58 h 45600"/>
                  <a:gd name="connsiteX3" fmla="*/ 10799 w 64524"/>
                  <a:gd name="connsiteY3" fmla="*/ 4641 h 45600"/>
                  <a:gd name="connsiteX4" fmla="*/ 51225 w 64524"/>
                  <a:gd name="connsiteY4" fmla="*/ 34450 h 45600"/>
                  <a:gd name="connsiteX5" fmla="*/ 57343 w 64524"/>
                  <a:gd name="connsiteY5" fmla="*/ 32961 h 45600"/>
                  <a:gd name="connsiteX6" fmla="*/ 64217 w 64524"/>
                  <a:gd name="connsiteY6" fmla="*/ 36255 h 45600"/>
                  <a:gd name="connsiteX7" fmla="*/ 60923 w 64524"/>
                  <a:gd name="connsiteY7" fmla="*/ 43129 h 45600"/>
                  <a:gd name="connsiteX8" fmla="*/ 45671 w 64524"/>
                  <a:gd name="connsiteY8" fmla="*/ 45599 h 45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524" h="45600">
                    <a:moveTo>
                      <a:pt x="45671" y="45599"/>
                    </a:moveTo>
                    <a:cubicBezTo>
                      <a:pt x="22873" y="45415"/>
                      <a:pt x="3565" y="28743"/>
                      <a:pt x="58" y="6216"/>
                    </a:cubicBezTo>
                    <a:cubicBezTo>
                      <a:pt x="-377" y="3250"/>
                      <a:pt x="1675" y="493"/>
                      <a:pt x="4641" y="58"/>
                    </a:cubicBezTo>
                    <a:cubicBezTo>
                      <a:pt x="7607" y="-377"/>
                      <a:pt x="10364" y="1675"/>
                      <a:pt x="10799" y="4641"/>
                    </a:cubicBezTo>
                    <a:cubicBezTo>
                      <a:pt x="13731" y="24036"/>
                      <a:pt x="31830" y="37382"/>
                      <a:pt x="51225" y="34450"/>
                    </a:cubicBezTo>
                    <a:cubicBezTo>
                      <a:pt x="53304" y="34136"/>
                      <a:pt x="55351" y="33638"/>
                      <a:pt x="57343" y="32961"/>
                    </a:cubicBezTo>
                    <a:cubicBezTo>
                      <a:pt x="60150" y="31972"/>
                      <a:pt x="63228" y="33447"/>
                      <a:pt x="64217" y="36255"/>
                    </a:cubicBezTo>
                    <a:cubicBezTo>
                      <a:pt x="65205" y="39062"/>
                      <a:pt x="63731" y="42140"/>
                      <a:pt x="60923" y="43129"/>
                    </a:cubicBezTo>
                    <a:cubicBezTo>
                      <a:pt x="56014" y="44804"/>
                      <a:pt x="50858" y="45639"/>
                      <a:pt x="45671" y="45599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9" name="Рисунок 61">
                <a:extLst>
                  <a:ext uri="{FF2B5EF4-FFF2-40B4-BE49-F238E27FC236}">
                    <a16:creationId xmlns:a16="http://schemas.microsoft.com/office/drawing/2014/main" id="{6EAD5B8D-CEED-4362-8250-BF99F8E77BBD}"/>
                  </a:ext>
                </a:extLst>
              </p:cNvPr>
              <p:cNvSpPr/>
              <p:nvPr/>
            </p:nvSpPr>
            <p:spPr>
              <a:xfrm>
                <a:off x="2138554" y="3056991"/>
                <a:ext cx="28939" cy="96667"/>
              </a:xfrm>
              <a:custGeom>
                <a:avLst/>
                <a:gdLst>
                  <a:gd name="connsiteX0" fmla="*/ 16111 w 28939"/>
                  <a:gd name="connsiteY0" fmla="*/ 96667 h 96667"/>
                  <a:gd name="connsiteX1" fmla="*/ 10741 w 28939"/>
                  <a:gd name="connsiteY1" fmla="*/ 91297 h 96667"/>
                  <a:gd name="connsiteX2" fmla="*/ 11815 w 28939"/>
                  <a:gd name="connsiteY2" fmla="*/ 88075 h 96667"/>
                  <a:gd name="connsiteX3" fmla="*/ 9846 w 28939"/>
                  <a:gd name="connsiteY3" fmla="*/ 41531 h 96667"/>
                  <a:gd name="connsiteX4" fmla="*/ 0 w 28939"/>
                  <a:gd name="connsiteY4" fmla="*/ 5370 h 96667"/>
                  <a:gd name="connsiteX5" fmla="*/ 5370 w 28939"/>
                  <a:gd name="connsiteY5" fmla="*/ 0 h 96667"/>
                  <a:gd name="connsiteX6" fmla="*/ 10741 w 28939"/>
                  <a:gd name="connsiteY6" fmla="*/ 5370 h 96667"/>
                  <a:gd name="connsiteX7" fmla="*/ 19727 w 28939"/>
                  <a:gd name="connsiteY7" fmla="*/ 37271 h 96667"/>
                  <a:gd name="connsiteX8" fmla="*/ 20408 w 28939"/>
                  <a:gd name="connsiteY8" fmla="*/ 94555 h 96667"/>
                  <a:gd name="connsiteX9" fmla="*/ 16111 w 28939"/>
                  <a:gd name="connsiteY9" fmla="*/ 96667 h 96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939" h="96667">
                    <a:moveTo>
                      <a:pt x="16111" y="96667"/>
                    </a:moveTo>
                    <a:cubicBezTo>
                      <a:pt x="13145" y="96667"/>
                      <a:pt x="10741" y="94263"/>
                      <a:pt x="10741" y="91297"/>
                    </a:cubicBezTo>
                    <a:cubicBezTo>
                      <a:pt x="10741" y="90135"/>
                      <a:pt x="11118" y="89004"/>
                      <a:pt x="11815" y="88075"/>
                    </a:cubicBezTo>
                    <a:cubicBezTo>
                      <a:pt x="23200" y="72930"/>
                      <a:pt x="17006" y="58323"/>
                      <a:pt x="9846" y="41531"/>
                    </a:cubicBezTo>
                    <a:cubicBezTo>
                      <a:pt x="5012" y="30074"/>
                      <a:pt x="0" y="18331"/>
                      <a:pt x="0" y="5370"/>
                    </a:cubicBezTo>
                    <a:cubicBezTo>
                      <a:pt x="0" y="2405"/>
                      <a:pt x="2405" y="0"/>
                      <a:pt x="5370" y="0"/>
                    </a:cubicBezTo>
                    <a:cubicBezTo>
                      <a:pt x="8336" y="0"/>
                      <a:pt x="10741" y="2405"/>
                      <a:pt x="10741" y="5370"/>
                    </a:cubicBezTo>
                    <a:cubicBezTo>
                      <a:pt x="10741" y="16111"/>
                      <a:pt x="15288" y="26852"/>
                      <a:pt x="19727" y="37271"/>
                    </a:cubicBezTo>
                    <a:cubicBezTo>
                      <a:pt x="27497" y="55530"/>
                      <a:pt x="35516" y="74398"/>
                      <a:pt x="20408" y="94555"/>
                    </a:cubicBezTo>
                    <a:cubicBezTo>
                      <a:pt x="19386" y="95894"/>
                      <a:pt x="17795" y="96676"/>
                      <a:pt x="16111" y="96667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1" name="Рисунок 61">
                <a:extLst>
                  <a:ext uri="{FF2B5EF4-FFF2-40B4-BE49-F238E27FC236}">
                    <a16:creationId xmlns:a16="http://schemas.microsoft.com/office/drawing/2014/main" id="{5EB3BEF0-2A04-4359-AB7A-8EF96A4314BE}"/>
                  </a:ext>
                </a:extLst>
              </p:cNvPr>
              <p:cNvSpPr/>
              <p:nvPr/>
            </p:nvSpPr>
            <p:spPr>
              <a:xfrm>
                <a:off x="2040752" y="3057135"/>
                <a:ext cx="26268" cy="60327"/>
              </a:xfrm>
              <a:custGeom>
                <a:avLst/>
                <a:gdLst>
                  <a:gd name="connsiteX0" fmla="*/ 5503 w 26268"/>
                  <a:gd name="connsiteY0" fmla="*/ 60328 h 60327"/>
                  <a:gd name="connsiteX1" fmla="*/ 3820 w 26268"/>
                  <a:gd name="connsiteY1" fmla="*/ 60041 h 60327"/>
                  <a:gd name="connsiteX2" fmla="*/ 212 w 26268"/>
                  <a:gd name="connsiteY2" fmla="*/ 53473 h 60327"/>
                  <a:gd name="connsiteX3" fmla="*/ 240 w 26268"/>
                  <a:gd name="connsiteY3" fmla="*/ 53382 h 60327"/>
                  <a:gd name="connsiteX4" fmla="*/ 1744 w 26268"/>
                  <a:gd name="connsiteY4" fmla="*/ 49802 h 60327"/>
                  <a:gd name="connsiteX5" fmla="*/ 15528 w 26268"/>
                  <a:gd name="connsiteY5" fmla="*/ 5370 h 60327"/>
                  <a:gd name="connsiteX6" fmla="*/ 20898 w 26268"/>
                  <a:gd name="connsiteY6" fmla="*/ 0 h 60327"/>
                  <a:gd name="connsiteX7" fmla="*/ 26268 w 26268"/>
                  <a:gd name="connsiteY7" fmla="*/ 5370 h 60327"/>
                  <a:gd name="connsiteX8" fmla="*/ 11661 w 26268"/>
                  <a:gd name="connsiteY8" fmla="*/ 53955 h 60327"/>
                  <a:gd name="connsiteX9" fmla="*/ 10479 w 26268"/>
                  <a:gd name="connsiteY9" fmla="*/ 56819 h 60327"/>
                  <a:gd name="connsiteX10" fmla="*/ 5503 w 26268"/>
                  <a:gd name="connsiteY10" fmla="*/ 60328 h 60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268" h="60327">
                    <a:moveTo>
                      <a:pt x="5503" y="60328"/>
                    </a:moveTo>
                    <a:cubicBezTo>
                      <a:pt x="4930" y="60325"/>
                      <a:pt x="4361" y="60228"/>
                      <a:pt x="3820" y="60041"/>
                    </a:cubicBezTo>
                    <a:cubicBezTo>
                      <a:pt x="1010" y="59224"/>
                      <a:pt x="-605" y="56283"/>
                      <a:pt x="212" y="53473"/>
                    </a:cubicBezTo>
                    <a:cubicBezTo>
                      <a:pt x="221" y="53443"/>
                      <a:pt x="231" y="53412"/>
                      <a:pt x="240" y="53382"/>
                    </a:cubicBezTo>
                    <a:cubicBezTo>
                      <a:pt x="240" y="52952"/>
                      <a:pt x="920" y="51628"/>
                      <a:pt x="1744" y="49802"/>
                    </a:cubicBezTo>
                    <a:cubicBezTo>
                      <a:pt x="5324" y="41674"/>
                      <a:pt x="15528" y="16971"/>
                      <a:pt x="15528" y="5370"/>
                    </a:cubicBezTo>
                    <a:cubicBezTo>
                      <a:pt x="15528" y="2405"/>
                      <a:pt x="17932" y="0"/>
                      <a:pt x="20898" y="0"/>
                    </a:cubicBezTo>
                    <a:cubicBezTo>
                      <a:pt x="23864" y="0"/>
                      <a:pt x="26268" y="2405"/>
                      <a:pt x="26268" y="5370"/>
                    </a:cubicBezTo>
                    <a:cubicBezTo>
                      <a:pt x="26268" y="17687"/>
                      <a:pt x="17926" y="38989"/>
                      <a:pt x="11661" y="53955"/>
                    </a:cubicBezTo>
                    <a:cubicBezTo>
                      <a:pt x="11052" y="55423"/>
                      <a:pt x="10623" y="56425"/>
                      <a:pt x="10479" y="56819"/>
                    </a:cubicBezTo>
                    <a:cubicBezTo>
                      <a:pt x="9691" y="58894"/>
                      <a:pt x="7722" y="60283"/>
                      <a:pt x="5503" y="60328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2" name="Рисунок 61">
                <a:extLst>
                  <a:ext uri="{FF2B5EF4-FFF2-40B4-BE49-F238E27FC236}">
                    <a16:creationId xmlns:a16="http://schemas.microsoft.com/office/drawing/2014/main" id="{3E84D4B0-4755-4A28-B66E-111EEE2CFE3C}"/>
                  </a:ext>
                </a:extLst>
              </p:cNvPr>
              <p:cNvSpPr/>
              <p:nvPr/>
            </p:nvSpPr>
            <p:spPr>
              <a:xfrm>
                <a:off x="1938846" y="3223474"/>
                <a:ext cx="136050" cy="73395"/>
              </a:xfrm>
              <a:custGeom>
                <a:avLst/>
                <a:gdLst>
                  <a:gd name="connsiteX0" fmla="*/ 130680 w 136050"/>
                  <a:gd name="connsiteY0" fmla="*/ 73396 h 73395"/>
                  <a:gd name="connsiteX1" fmla="*/ 5370 w 136050"/>
                  <a:gd name="connsiteY1" fmla="*/ 73396 h 73395"/>
                  <a:gd name="connsiteX2" fmla="*/ 0 w 136050"/>
                  <a:gd name="connsiteY2" fmla="*/ 68025 h 73395"/>
                  <a:gd name="connsiteX3" fmla="*/ 68025 w 136050"/>
                  <a:gd name="connsiteY3" fmla="*/ 0 h 73395"/>
                  <a:gd name="connsiteX4" fmla="*/ 136051 w 136050"/>
                  <a:gd name="connsiteY4" fmla="*/ 68025 h 73395"/>
                  <a:gd name="connsiteX5" fmla="*/ 130680 w 136050"/>
                  <a:gd name="connsiteY5" fmla="*/ 73396 h 73395"/>
                  <a:gd name="connsiteX6" fmla="*/ 10956 w 136050"/>
                  <a:gd name="connsiteY6" fmla="*/ 62655 h 73395"/>
                  <a:gd name="connsiteX7" fmla="*/ 125059 w 136050"/>
                  <a:gd name="connsiteY7" fmla="*/ 62655 h 73395"/>
                  <a:gd name="connsiteX8" fmla="*/ 62849 w 136050"/>
                  <a:gd name="connsiteY8" fmla="*/ 10762 h 73395"/>
                  <a:gd name="connsiteX9" fmla="*/ 10956 w 136050"/>
                  <a:gd name="connsiteY9" fmla="*/ 62655 h 73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6050" h="73395">
                    <a:moveTo>
                      <a:pt x="130680" y="73396"/>
                    </a:moveTo>
                    <a:lnTo>
                      <a:pt x="5370" y="73396"/>
                    </a:lnTo>
                    <a:cubicBezTo>
                      <a:pt x="2405" y="73396"/>
                      <a:pt x="0" y="70991"/>
                      <a:pt x="0" y="68025"/>
                    </a:cubicBezTo>
                    <a:cubicBezTo>
                      <a:pt x="0" y="30456"/>
                      <a:pt x="30456" y="0"/>
                      <a:pt x="68025" y="0"/>
                    </a:cubicBezTo>
                    <a:cubicBezTo>
                      <a:pt x="105595" y="0"/>
                      <a:pt x="136051" y="30456"/>
                      <a:pt x="136051" y="68025"/>
                    </a:cubicBezTo>
                    <a:cubicBezTo>
                      <a:pt x="136051" y="70991"/>
                      <a:pt x="133646" y="73396"/>
                      <a:pt x="130680" y="73396"/>
                    </a:cubicBezTo>
                    <a:close/>
                    <a:moveTo>
                      <a:pt x="10956" y="62655"/>
                    </a:moveTo>
                    <a:lnTo>
                      <a:pt x="125059" y="62655"/>
                    </a:lnTo>
                    <a:cubicBezTo>
                      <a:pt x="122210" y="31146"/>
                      <a:pt x="94358" y="7912"/>
                      <a:pt x="62849" y="10762"/>
                    </a:cubicBezTo>
                    <a:cubicBezTo>
                      <a:pt x="35287" y="13253"/>
                      <a:pt x="13448" y="35093"/>
                      <a:pt x="10956" y="62655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3" name="Рисунок 61">
                <a:extLst>
                  <a:ext uri="{FF2B5EF4-FFF2-40B4-BE49-F238E27FC236}">
                    <a16:creationId xmlns:a16="http://schemas.microsoft.com/office/drawing/2014/main" id="{59C9E2DA-DBAF-4F86-97A6-82FAACE90BF3}"/>
                  </a:ext>
                </a:extLst>
              </p:cNvPr>
              <p:cNvSpPr/>
              <p:nvPr/>
            </p:nvSpPr>
            <p:spPr>
              <a:xfrm>
                <a:off x="1959540" y="3117856"/>
                <a:ext cx="93087" cy="93087"/>
              </a:xfrm>
              <a:custGeom>
                <a:avLst/>
                <a:gdLst>
                  <a:gd name="connsiteX0" fmla="*/ 46544 w 93087"/>
                  <a:gd name="connsiteY0" fmla="*/ 93087 h 93087"/>
                  <a:gd name="connsiteX1" fmla="*/ 0 w 93087"/>
                  <a:gd name="connsiteY1" fmla="*/ 46544 h 93087"/>
                  <a:gd name="connsiteX2" fmla="*/ 46544 w 93087"/>
                  <a:gd name="connsiteY2" fmla="*/ 0 h 93087"/>
                  <a:gd name="connsiteX3" fmla="*/ 93087 w 93087"/>
                  <a:gd name="connsiteY3" fmla="*/ 46544 h 93087"/>
                  <a:gd name="connsiteX4" fmla="*/ 46544 w 93087"/>
                  <a:gd name="connsiteY4" fmla="*/ 93087 h 93087"/>
                  <a:gd name="connsiteX5" fmla="*/ 46544 w 93087"/>
                  <a:gd name="connsiteY5" fmla="*/ 10741 h 93087"/>
                  <a:gd name="connsiteX6" fmla="*/ 10741 w 93087"/>
                  <a:gd name="connsiteY6" fmla="*/ 46544 h 93087"/>
                  <a:gd name="connsiteX7" fmla="*/ 46544 w 93087"/>
                  <a:gd name="connsiteY7" fmla="*/ 82346 h 93087"/>
                  <a:gd name="connsiteX8" fmla="*/ 82346 w 93087"/>
                  <a:gd name="connsiteY8" fmla="*/ 46544 h 93087"/>
                  <a:gd name="connsiteX9" fmla="*/ 46544 w 93087"/>
                  <a:gd name="connsiteY9" fmla="*/ 10741 h 93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087" h="93087">
                    <a:moveTo>
                      <a:pt x="46544" y="93087"/>
                    </a:moveTo>
                    <a:cubicBezTo>
                      <a:pt x="20838" y="93087"/>
                      <a:pt x="0" y="72249"/>
                      <a:pt x="0" y="46544"/>
                    </a:cubicBezTo>
                    <a:cubicBezTo>
                      <a:pt x="0" y="20838"/>
                      <a:pt x="20838" y="0"/>
                      <a:pt x="46544" y="0"/>
                    </a:cubicBezTo>
                    <a:cubicBezTo>
                      <a:pt x="72249" y="0"/>
                      <a:pt x="93087" y="20838"/>
                      <a:pt x="93087" y="46544"/>
                    </a:cubicBezTo>
                    <a:cubicBezTo>
                      <a:pt x="93087" y="72249"/>
                      <a:pt x="72249" y="93087"/>
                      <a:pt x="46544" y="93087"/>
                    </a:cubicBezTo>
                    <a:close/>
                    <a:moveTo>
                      <a:pt x="46544" y="10741"/>
                    </a:moveTo>
                    <a:cubicBezTo>
                      <a:pt x="26770" y="10741"/>
                      <a:pt x="10741" y="26770"/>
                      <a:pt x="10741" y="46544"/>
                    </a:cubicBezTo>
                    <a:cubicBezTo>
                      <a:pt x="10741" y="66317"/>
                      <a:pt x="26770" y="82346"/>
                      <a:pt x="46544" y="82346"/>
                    </a:cubicBezTo>
                    <a:cubicBezTo>
                      <a:pt x="66317" y="82346"/>
                      <a:pt x="82346" y="66317"/>
                      <a:pt x="82346" y="46544"/>
                    </a:cubicBezTo>
                    <a:cubicBezTo>
                      <a:pt x="82346" y="26770"/>
                      <a:pt x="66317" y="10741"/>
                      <a:pt x="46544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4" name="Рисунок 61">
                <a:extLst>
                  <a:ext uri="{FF2B5EF4-FFF2-40B4-BE49-F238E27FC236}">
                    <a16:creationId xmlns:a16="http://schemas.microsoft.com/office/drawing/2014/main" id="{1B8414C8-3941-42E5-BDBB-59C05E0BD0DB}"/>
                  </a:ext>
                </a:extLst>
              </p:cNvPr>
              <p:cNvSpPr/>
              <p:nvPr/>
            </p:nvSpPr>
            <p:spPr>
              <a:xfrm>
                <a:off x="1964890" y="3238061"/>
                <a:ext cx="83784" cy="20715"/>
              </a:xfrm>
              <a:custGeom>
                <a:avLst/>
                <a:gdLst>
                  <a:gd name="connsiteX0" fmla="*/ 41982 w 83784"/>
                  <a:gd name="connsiteY0" fmla="*/ 20715 h 20715"/>
                  <a:gd name="connsiteX1" fmla="*/ 2599 w 83784"/>
                  <a:gd name="connsiteY1" fmla="*/ 9974 h 20715"/>
                  <a:gd name="connsiteX2" fmla="*/ 773 w 83784"/>
                  <a:gd name="connsiteY2" fmla="*/ 2599 h 20715"/>
                  <a:gd name="connsiteX3" fmla="*/ 8148 w 83784"/>
                  <a:gd name="connsiteY3" fmla="*/ 773 h 20715"/>
                  <a:gd name="connsiteX4" fmla="*/ 75636 w 83784"/>
                  <a:gd name="connsiteY4" fmla="*/ 773 h 20715"/>
                  <a:gd name="connsiteX5" fmla="*/ 83012 w 83784"/>
                  <a:gd name="connsiteY5" fmla="*/ 2599 h 20715"/>
                  <a:gd name="connsiteX6" fmla="*/ 81186 w 83784"/>
                  <a:gd name="connsiteY6" fmla="*/ 9974 h 20715"/>
                  <a:gd name="connsiteX7" fmla="*/ 41982 w 83784"/>
                  <a:gd name="connsiteY7" fmla="*/ 20715 h 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784" h="20715">
                    <a:moveTo>
                      <a:pt x="41982" y="20715"/>
                    </a:moveTo>
                    <a:cubicBezTo>
                      <a:pt x="28121" y="20789"/>
                      <a:pt x="14503" y="17075"/>
                      <a:pt x="2599" y="9974"/>
                    </a:cubicBezTo>
                    <a:cubicBezTo>
                      <a:pt x="58" y="8442"/>
                      <a:pt x="-760" y="5140"/>
                      <a:pt x="773" y="2599"/>
                    </a:cubicBezTo>
                    <a:cubicBezTo>
                      <a:pt x="2305" y="58"/>
                      <a:pt x="5607" y="-760"/>
                      <a:pt x="8148" y="773"/>
                    </a:cubicBezTo>
                    <a:cubicBezTo>
                      <a:pt x="28916" y="13242"/>
                      <a:pt x="54868" y="13242"/>
                      <a:pt x="75636" y="773"/>
                    </a:cubicBezTo>
                    <a:cubicBezTo>
                      <a:pt x="78177" y="-760"/>
                      <a:pt x="81479" y="58"/>
                      <a:pt x="83012" y="2599"/>
                    </a:cubicBezTo>
                    <a:cubicBezTo>
                      <a:pt x="84544" y="5140"/>
                      <a:pt x="83727" y="8442"/>
                      <a:pt x="81186" y="9974"/>
                    </a:cubicBezTo>
                    <a:cubicBezTo>
                      <a:pt x="69333" y="17042"/>
                      <a:pt x="55782" y="20755"/>
                      <a:pt x="41982" y="20715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5" name="Рисунок 61">
                <a:extLst>
                  <a:ext uri="{FF2B5EF4-FFF2-40B4-BE49-F238E27FC236}">
                    <a16:creationId xmlns:a16="http://schemas.microsoft.com/office/drawing/2014/main" id="{478114CF-3B7A-4111-BE0A-783CFEDB2F98}"/>
                  </a:ext>
                </a:extLst>
              </p:cNvPr>
              <p:cNvSpPr/>
              <p:nvPr/>
            </p:nvSpPr>
            <p:spPr>
              <a:xfrm>
                <a:off x="1971856" y="3146498"/>
                <a:ext cx="70495" cy="8632"/>
              </a:xfrm>
              <a:custGeom>
                <a:avLst/>
                <a:gdLst>
                  <a:gd name="connsiteX0" fmla="*/ 0 w 70495"/>
                  <a:gd name="connsiteY0" fmla="*/ 2148 h 8632"/>
                  <a:gd name="connsiteX1" fmla="*/ 43679 w 70495"/>
                  <a:gd name="connsiteY1" fmla="*/ 0 h 8632"/>
                  <a:gd name="connsiteX2" fmla="*/ 70496 w 70495"/>
                  <a:gd name="connsiteY2" fmla="*/ 1396 h 8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495" h="8632">
                    <a:moveTo>
                      <a:pt x="0" y="2148"/>
                    </a:moveTo>
                    <a:cubicBezTo>
                      <a:pt x="20372" y="17901"/>
                      <a:pt x="43679" y="0"/>
                      <a:pt x="43679" y="0"/>
                    </a:cubicBezTo>
                    <a:cubicBezTo>
                      <a:pt x="43679" y="0"/>
                      <a:pt x="59039" y="16684"/>
                      <a:pt x="70496" y="1396"/>
                    </a:cubicBezTo>
                  </a:path>
                </a:pathLst>
              </a:custGeom>
              <a:solidFill>
                <a:srgbClr val="FFFFFF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6" name="Рисунок 61">
                <a:extLst>
                  <a:ext uri="{FF2B5EF4-FFF2-40B4-BE49-F238E27FC236}">
                    <a16:creationId xmlns:a16="http://schemas.microsoft.com/office/drawing/2014/main" id="{36823691-AA10-409B-9D8D-4B23F95E0AD5}"/>
                  </a:ext>
                </a:extLst>
              </p:cNvPr>
              <p:cNvSpPr/>
              <p:nvPr/>
            </p:nvSpPr>
            <p:spPr>
              <a:xfrm>
                <a:off x="1966485" y="3141077"/>
                <a:ext cx="81202" cy="19385"/>
              </a:xfrm>
              <a:custGeom>
                <a:avLst/>
                <a:gdLst>
                  <a:gd name="connsiteX0" fmla="*/ 24096 w 81202"/>
                  <a:gd name="connsiteY0" fmla="*/ 19384 h 19385"/>
                  <a:gd name="connsiteX1" fmla="*/ 2078 w 81202"/>
                  <a:gd name="connsiteY1" fmla="*/ 11830 h 19385"/>
                  <a:gd name="connsiteX2" fmla="*/ 1129 w 81202"/>
                  <a:gd name="connsiteY2" fmla="*/ 4294 h 19385"/>
                  <a:gd name="connsiteX3" fmla="*/ 8665 w 81202"/>
                  <a:gd name="connsiteY3" fmla="*/ 3345 h 19385"/>
                  <a:gd name="connsiteX4" fmla="*/ 45793 w 81202"/>
                  <a:gd name="connsiteY4" fmla="*/ 1089 h 19385"/>
                  <a:gd name="connsiteX5" fmla="*/ 52953 w 81202"/>
                  <a:gd name="connsiteY5" fmla="*/ 1698 h 19385"/>
                  <a:gd name="connsiteX6" fmla="*/ 64876 w 81202"/>
                  <a:gd name="connsiteY6" fmla="*/ 7820 h 19385"/>
                  <a:gd name="connsiteX7" fmla="*/ 71535 w 81202"/>
                  <a:gd name="connsiteY7" fmla="*/ 3524 h 19385"/>
                  <a:gd name="connsiteX8" fmla="*/ 79054 w 81202"/>
                  <a:gd name="connsiteY8" fmla="*/ 2450 h 19385"/>
                  <a:gd name="connsiteX9" fmla="*/ 80128 w 81202"/>
                  <a:gd name="connsiteY9" fmla="*/ 9968 h 19385"/>
                  <a:gd name="connsiteX10" fmla="*/ 65377 w 81202"/>
                  <a:gd name="connsiteY10" fmla="*/ 18561 h 19385"/>
                  <a:gd name="connsiteX11" fmla="*/ 48514 w 81202"/>
                  <a:gd name="connsiteY11" fmla="*/ 12188 h 19385"/>
                  <a:gd name="connsiteX12" fmla="*/ 24096 w 81202"/>
                  <a:gd name="connsiteY12" fmla="*/ 19384 h 19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1202" h="19385">
                    <a:moveTo>
                      <a:pt x="24096" y="19384"/>
                    </a:moveTo>
                    <a:cubicBezTo>
                      <a:pt x="16111" y="19445"/>
                      <a:pt x="8344" y="16780"/>
                      <a:pt x="2078" y="11830"/>
                    </a:cubicBezTo>
                    <a:cubicBezTo>
                      <a:pt x="-266" y="10011"/>
                      <a:pt x="-690" y="6637"/>
                      <a:pt x="1129" y="4294"/>
                    </a:cubicBezTo>
                    <a:cubicBezTo>
                      <a:pt x="2948" y="1950"/>
                      <a:pt x="6322" y="1526"/>
                      <a:pt x="8665" y="3345"/>
                    </a:cubicBezTo>
                    <a:cubicBezTo>
                      <a:pt x="25278" y="16377"/>
                      <a:pt x="44969" y="1841"/>
                      <a:pt x="45793" y="1089"/>
                    </a:cubicBezTo>
                    <a:cubicBezTo>
                      <a:pt x="47984" y="-570"/>
                      <a:pt x="51074" y="-307"/>
                      <a:pt x="52953" y="1698"/>
                    </a:cubicBezTo>
                    <a:cubicBezTo>
                      <a:pt x="54600" y="3488"/>
                      <a:pt x="59935" y="8107"/>
                      <a:pt x="64876" y="7820"/>
                    </a:cubicBezTo>
                    <a:cubicBezTo>
                      <a:pt x="67636" y="7481"/>
                      <a:pt x="70089" y="5899"/>
                      <a:pt x="71535" y="3524"/>
                    </a:cubicBezTo>
                    <a:cubicBezTo>
                      <a:pt x="73315" y="1151"/>
                      <a:pt x="76681" y="670"/>
                      <a:pt x="79054" y="2450"/>
                    </a:cubicBezTo>
                    <a:cubicBezTo>
                      <a:pt x="81426" y="4229"/>
                      <a:pt x="81907" y="7596"/>
                      <a:pt x="80128" y="9968"/>
                    </a:cubicBezTo>
                    <a:cubicBezTo>
                      <a:pt x="76798" y="14953"/>
                      <a:pt x="71356" y="18124"/>
                      <a:pt x="65377" y="18561"/>
                    </a:cubicBezTo>
                    <a:cubicBezTo>
                      <a:pt x="59177" y="18507"/>
                      <a:pt x="53200" y="16248"/>
                      <a:pt x="48514" y="12188"/>
                    </a:cubicBezTo>
                    <a:cubicBezTo>
                      <a:pt x="41159" y="16714"/>
                      <a:pt x="32731" y="19199"/>
                      <a:pt x="24096" y="19384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27" name="Группа 226">
            <a:extLst>
              <a:ext uri="{FF2B5EF4-FFF2-40B4-BE49-F238E27FC236}">
                <a16:creationId xmlns:a16="http://schemas.microsoft.com/office/drawing/2014/main" id="{02009106-27A6-454F-BD66-4876545E2AF4}"/>
              </a:ext>
            </a:extLst>
          </p:cNvPr>
          <p:cNvGrpSpPr/>
          <p:nvPr/>
        </p:nvGrpSpPr>
        <p:grpSpPr>
          <a:xfrm>
            <a:off x="1890670" y="3496889"/>
            <a:ext cx="550305" cy="550305"/>
            <a:chOff x="1729142" y="2873137"/>
            <a:chExt cx="550305" cy="550305"/>
          </a:xfrm>
        </p:grpSpPr>
        <p:sp>
          <p:nvSpPr>
            <p:cNvPr id="228" name="Овал 227">
              <a:extLst>
                <a:ext uri="{FF2B5EF4-FFF2-40B4-BE49-F238E27FC236}">
                  <a16:creationId xmlns:a16="http://schemas.microsoft.com/office/drawing/2014/main" id="{48D5BFAD-1C73-4365-8A0A-9F05E0A2D542}"/>
                </a:ext>
              </a:extLst>
            </p:cNvPr>
            <p:cNvSpPr/>
            <p:nvPr/>
          </p:nvSpPr>
          <p:spPr>
            <a:xfrm>
              <a:off x="1729142" y="2873137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29" name="Группа 228">
              <a:extLst>
                <a:ext uri="{FF2B5EF4-FFF2-40B4-BE49-F238E27FC236}">
                  <a16:creationId xmlns:a16="http://schemas.microsoft.com/office/drawing/2014/main" id="{BBB32C02-4096-49B3-9CA0-2FB2201D6B12}"/>
                </a:ext>
              </a:extLst>
            </p:cNvPr>
            <p:cNvGrpSpPr/>
            <p:nvPr/>
          </p:nvGrpSpPr>
          <p:grpSpPr>
            <a:xfrm>
              <a:off x="1845329" y="2996127"/>
              <a:ext cx="325450" cy="300742"/>
              <a:chOff x="1845329" y="2996127"/>
              <a:chExt cx="325450" cy="300742"/>
            </a:xfrm>
          </p:grpSpPr>
          <p:sp>
            <p:nvSpPr>
              <p:cNvPr id="230" name="Рисунок 61">
                <a:extLst>
                  <a:ext uri="{FF2B5EF4-FFF2-40B4-BE49-F238E27FC236}">
                    <a16:creationId xmlns:a16="http://schemas.microsoft.com/office/drawing/2014/main" id="{B000E3CD-095C-4B2B-943A-9F3760CB3172}"/>
                  </a:ext>
                </a:extLst>
              </p:cNvPr>
              <p:cNvSpPr/>
              <p:nvPr/>
            </p:nvSpPr>
            <p:spPr>
              <a:xfrm>
                <a:off x="1845329" y="3130674"/>
                <a:ext cx="107050" cy="101751"/>
              </a:xfrm>
              <a:custGeom>
                <a:avLst/>
                <a:gdLst>
                  <a:gd name="connsiteX0" fmla="*/ 101680 w 107050"/>
                  <a:gd name="connsiteY0" fmla="*/ 101751 h 101751"/>
                  <a:gd name="connsiteX1" fmla="*/ 5370 w 107050"/>
                  <a:gd name="connsiteY1" fmla="*/ 101751 h 101751"/>
                  <a:gd name="connsiteX2" fmla="*/ 0 w 107050"/>
                  <a:gd name="connsiteY2" fmla="*/ 96381 h 101751"/>
                  <a:gd name="connsiteX3" fmla="*/ 94484 w 107050"/>
                  <a:gd name="connsiteY3" fmla="*/ 0 h 101751"/>
                  <a:gd name="connsiteX4" fmla="*/ 99854 w 107050"/>
                  <a:gd name="connsiteY4" fmla="*/ 5370 h 101751"/>
                  <a:gd name="connsiteX5" fmla="*/ 94484 w 107050"/>
                  <a:gd name="connsiteY5" fmla="*/ 10741 h 101751"/>
                  <a:gd name="connsiteX6" fmla="*/ 10884 w 107050"/>
                  <a:gd name="connsiteY6" fmla="*/ 91011 h 101751"/>
                  <a:gd name="connsiteX7" fmla="*/ 101680 w 107050"/>
                  <a:gd name="connsiteY7" fmla="*/ 91011 h 101751"/>
                  <a:gd name="connsiteX8" fmla="*/ 107050 w 107050"/>
                  <a:gd name="connsiteY8" fmla="*/ 96381 h 101751"/>
                  <a:gd name="connsiteX9" fmla="*/ 101680 w 107050"/>
                  <a:gd name="connsiteY9" fmla="*/ 101751 h 10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7050" h="101751">
                    <a:moveTo>
                      <a:pt x="101680" y="101751"/>
                    </a:moveTo>
                    <a:lnTo>
                      <a:pt x="5370" y="101751"/>
                    </a:lnTo>
                    <a:cubicBezTo>
                      <a:pt x="2404" y="101751"/>
                      <a:pt x="0" y="99347"/>
                      <a:pt x="0" y="96381"/>
                    </a:cubicBezTo>
                    <a:cubicBezTo>
                      <a:pt x="0" y="43250"/>
                      <a:pt x="42390" y="0"/>
                      <a:pt x="94484" y="0"/>
                    </a:cubicBezTo>
                    <a:cubicBezTo>
                      <a:pt x="97449" y="0"/>
                      <a:pt x="99854" y="2405"/>
                      <a:pt x="99854" y="5370"/>
                    </a:cubicBezTo>
                    <a:cubicBezTo>
                      <a:pt x="99854" y="8336"/>
                      <a:pt x="97449" y="10741"/>
                      <a:pt x="94484" y="10741"/>
                    </a:cubicBezTo>
                    <a:cubicBezTo>
                      <a:pt x="49802" y="11247"/>
                      <a:pt x="13205" y="46387"/>
                      <a:pt x="10884" y="91011"/>
                    </a:cubicBezTo>
                    <a:lnTo>
                      <a:pt x="101680" y="91011"/>
                    </a:lnTo>
                    <a:cubicBezTo>
                      <a:pt x="104646" y="91011"/>
                      <a:pt x="107050" y="93415"/>
                      <a:pt x="107050" y="96381"/>
                    </a:cubicBezTo>
                    <a:cubicBezTo>
                      <a:pt x="107050" y="99347"/>
                      <a:pt x="104646" y="101751"/>
                      <a:pt x="101680" y="10175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1" name="Рисунок 61">
                <a:extLst>
                  <a:ext uri="{FF2B5EF4-FFF2-40B4-BE49-F238E27FC236}">
                    <a16:creationId xmlns:a16="http://schemas.microsoft.com/office/drawing/2014/main" id="{D8A8FCEB-F729-41C4-BF07-9EFE69D4DF54}"/>
                  </a:ext>
                </a:extLst>
              </p:cNvPr>
              <p:cNvSpPr/>
              <p:nvPr/>
            </p:nvSpPr>
            <p:spPr>
              <a:xfrm>
                <a:off x="1880774" y="2996127"/>
                <a:ext cx="118149" cy="118149"/>
              </a:xfrm>
              <a:custGeom>
                <a:avLst/>
                <a:gdLst>
                  <a:gd name="connsiteX0" fmla="*/ 59075 w 118149"/>
                  <a:gd name="connsiteY0" fmla="*/ 118149 h 118149"/>
                  <a:gd name="connsiteX1" fmla="*/ 0 w 118149"/>
                  <a:gd name="connsiteY1" fmla="*/ 59075 h 118149"/>
                  <a:gd name="connsiteX2" fmla="*/ 59075 w 118149"/>
                  <a:gd name="connsiteY2" fmla="*/ 0 h 118149"/>
                  <a:gd name="connsiteX3" fmla="*/ 118149 w 118149"/>
                  <a:gd name="connsiteY3" fmla="*/ 59075 h 118149"/>
                  <a:gd name="connsiteX4" fmla="*/ 59075 w 118149"/>
                  <a:gd name="connsiteY4" fmla="*/ 118149 h 118149"/>
                  <a:gd name="connsiteX5" fmla="*/ 59075 w 118149"/>
                  <a:gd name="connsiteY5" fmla="*/ 10741 h 118149"/>
                  <a:gd name="connsiteX6" fmla="*/ 10741 w 118149"/>
                  <a:gd name="connsiteY6" fmla="*/ 59075 h 118149"/>
                  <a:gd name="connsiteX7" fmla="*/ 59075 w 118149"/>
                  <a:gd name="connsiteY7" fmla="*/ 107408 h 118149"/>
                  <a:gd name="connsiteX8" fmla="*/ 107408 w 118149"/>
                  <a:gd name="connsiteY8" fmla="*/ 59075 h 118149"/>
                  <a:gd name="connsiteX9" fmla="*/ 59075 w 118149"/>
                  <a:gd name="connsiteY9" fmla="*/ 10741 h 118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8149" h="118149">
                    <a:moveTo>
                      <a:pt x="59075" y="118149"/>
                    </a:moveTo>
                    <a:cubicBezTo>
                      <a:pt x="26449" y="118149"/>
                      <a:pt x="0" y="91701"/>
                      <a:pt x="0" y="59075"/>
                    </a:cubicBezTo>
                    <a:cubicBezTo>
                      <a:pt x="0" y="26449"/>
                      <a:pt x="26449" y="0"/>
                      <a:pt x="59075" y="0"/>
                    </a:cubicBezTo>
                    <a:cubicBezTo>
                      <a:pt x="91701" y="0"/>
                      <a:pt x="118149" y="26449"/>
                      <a:pt x="118149" y="59075"/>
                    </a:cubicBezTo>
                    <a:cubicBezTo>
                      <a:pt x="118110" y="91684"/>
                      <a:pt x="91684" y="118110"/>
                      <a:pt x="59075" y="118149"/>
                    </a:cubicBezTo>
                    <a:close/>
                    <a:moveTo>
                      <a:pt x="59075" y="10741"/>
                    </a:moveTo>
                    <a:cubicBezTo>
                      <a:pt x="32381" y="10741"/>
                      <a:pt x="10741" y="32381"/>
                      <a:pt x="10741" y="59075"/>
                    </a:cubicBezTo>
                    <a:cubicBezTo>
                      <a:pt x="10741" y="85768"/>
                      <a:pt x="32381" y="107408"/>
                      <a:pt x="59075" y="107408"/>
                    </a:cubicBezTo>
                    <a:cubicBezTo>
                      <a:pt x="85768" y="107408"/>
                      <a:pt x="107408" y="85768"/>
                      <a:pt x="107408" y="59075"/>
                    </a:cubicBezTo>
                    <a:cubicBezTo>
                      <a:pt x="107369" y="32397"/>
                      <a:pt x="85752" y="10780"/>
                      <a:pt x="59075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2" name="Рисунок 61">
                <a:extLst>
                  <a:ext uri="{FF2B5EF4-FFF2-40B4-BE49-F238E27FC236}">
                    <a16:creationId xmlns:a16="http://schemas.microsoft.com/office/drawing/2014/main" id="{D46EC87A-0165-4D0E-BFEC-34D3E6D3A27F}"/>
                  </a:ext>
                </a:extLst>
              </p:cNvPr>
              <p:cNvSpPr/>
              <p:nvPr/>
            </p:nvSpPr>
            <p:spPr>
              <a:xfrm>
                <a:off x="1883312" y="3150469"/>
                <a:ext cx="61942" cy="24922"/>
              </a:xfrm>
              <a:custGeom>
                <a:avLst/>
                <a:gdLst>
                  <a:gd name="connsiteX0" fmla="*/ 56465 w 61942"/>
                  <a:gd name="connsiteY0" fmla="*/ 24922 h 24922"/>
                  <a:gd name="connsiteX1" fmla="*/ 2581 w 61942"/>
                  <a:gd name="connsiteY1" fmla="*/ 9993 h 24922"/>
                  <a:gd name="connsiteX2" fmla="*/ 791 w 61942"/>
                  <a:gd name="connsiteY2" fmla="*/ 2581 h 24922"/>
                  <a:gd name="connsiteX3" fmla="*/ 8202 w 61942"/>
                  <a:gd name="connsiteY3" fmla="*/ 791 h 24922"/>
                  <a:gd name="connsiteX4" fmla="*/ 56572 w 61942"/>
                  <a:gd name="connsiteY4" fmla="*/ 14181 h 24922"/>
                  <a:gd name="connsiteX5" fmla="*/ 61942 w 61942"/>
                  <a:gd name="connsiteY5" fmla="*/ 19552 h 24922"/>
                  <a:gd name="connsiteX6" fmla="*/ 56572 w 61942"/>
                  <a:gd name="connsiteY6" fmla="*/ 24922 h 24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1942" h="24922">
                    <a:moveTo>
                      <a:pt x="56465" y="24922"/>
                    </a:moveTo>
                    <a:cubicBezTo>
                      <a:pt x="37481" y="24936"/>
                      <a:pt x="18852" y="19774"/>
                      <a:pt x="2581" y="9993"/>
                    </a:cubicBezTo>
                    <a:cubicBezTo>
                      <a:pt x="40" y="8441"/>
                      <a:pt x="-761" y="5122"/>
                      <a:pt x="791" y="2581"/>
                    </a:cubicBezTo>
                    <a:cubicBezTo>
                      <a:pt x="2343" y="40"/>
                      <a:pt x="5662" y="-761"/>
                      <a:pt x="8202" y="791"/>
                    </a:cubicBezTo>
                    <a:cubicBezTo>
                      <a:pt x="22808" y="9570"/>
                      <a:pt x="39531" y="14200"/>
                      <a:pt x="56572" y="14181"/>
                    </a:cubicBezTo>
                    <a:cubicBezTo>
                      <a:pt x="59538" y="14181"/>
                      <a:pt x="61942" y="16586"/>
                      <a:pt x="61942" y="19552"/>
                    </a:cubicBezTo>
                    <a:cubicBezTo>
                      <a:pt x="61942" y="22518"/>
                      <a:pt x="59538" y="24922"/>
                      <a:pt x="56572" y="24922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3" name="Рисунок 61">
                <a:extLst>
                  <a:ext uri="{FF2B5EF4-FFF2-40B4-BE49-F238E27FC236}">
                    <a16:creationId xmlns:a16="http://schemas.microsoft.com/office/drawing/2014/main" id="{280BCD9A-DA24-4651-B9C4-2703E91401F0}"/>
                  </a:ext>
                </a:extLst>
              </p:cNvPr>
              <p:cNvSpPr/>
              <p:nvPr/>
            </p:nvSpPr>
            <p:spPr>
              <a:xfrm>
                <a:off x="1887790" y="3023190"/>
                <a:ext cx="103936" cy="24600"/>
              </a:xfrm>
              <a:custGeom>
                <a:avLst/>
                <a:gdLst>
                  <a:gd name="connsiteX0" fmla="*/ 98566 w 103936"/>
                  <a:gd name="connsiteY0" fmla="*/ 24421 h 24600"/>
                  <a:gd name="connsiteX1" fmla="*/ 67489 w 103936"/>
                  <a:gd name="connsiteY1" fmla="*/ 12320 h 24600"/>
                  <a:gd name="connsiteX2" fmla="*/ 2078 w 103936"/>
                  <a:gd name="connsiteY2" fmla="*/ 12642 h 24600"/>
                  <a:gd name="connsiteX3" fmla="*/ 1129 w 103936"/>
                  <a:gd name="connsiteY3" fmla="*/ 5106 h 24600"/>
                  <a:gd name="connsiteX4" fmla="*/ 8665 w 103936"/>
                  <a:gd name="connsiteY4" fmla="*/ 4157 h 24600"/>
                  <a:gd name="connsiteX5" fmla="*/ 65699 w 103936"/>
                  <a:gd name="connsiteY5" fmla="*/ 899 h 24600"/>
                  <a:gd name="connsiteX6" fmla="*/ 73145 w 103936"/>
                  <a:gd name="connsiteY6" fmla="*/ 2397 h 24600"/>
                  <a:gd name="connsiteX7" fmla="*/ 73218 w 103936"/>
                  <a:gd name="connsiteY7" fmla="*/ 2510 h 24600"/>
                  <a:gd name="connsiteX8" fmla="*/ 98566 w 103936"/>
                  <a:gd name="connsiteY8" fmla="*/ 13860 h 24600"/>
                  <a:gd name="connsiteX9" fmla="*/ 103936 w 103936"/>
                  <a:gd name="connsiteY9" fmla="*/ 19230 h 24600"/>
                  <a:gd name="connsiteX10" fmla="*/ 98566 w 103936"/>
                  <a:gd name="connsiteY10" fmla="*/ 24600 h 24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3936" h="24600">
                    <a:moveTo>
                      <a:pt x="98566" y="24421"/>
                    </a:moveTo>
                    <a:cubicBezTo>
                      <a:pt x="86989" y="24803"/>
                      <a:pt x="75760" y="20430"/>
                      <a:pt x="67489" y="12320"/>
                    </a:cubicBezTo>
                    <a:cubicBezTo>
                      <a:pt x="56748" y="18335"/>
                      <a:pt x="26531" y="31654"/>
                      <a:pt x="2078" y="12642"/>
                    </a:cubicBezTo>
                    <a:cubicBezTo>
                      <a:pt x="-266" y="10823"/>
                      <a:pt x="-690" y="7449"/>
                      <a:pt x="1129" y="5106"/>
                    </a:cubicBezTo>
                    <a:cubicBezTo>
                      <a:pt x="2948" y="2762"/>
                      <a:pt x="6322" y="2338"/>
                      <a:pt x="8665" y="4157"/>
                    </a:cubicBezTo>
                    <a:cubicBezTo>
                      <a:pt x="32367" y="22595"/>
                      <a:pt x="65377" y="1114"/>
                      <a:pt x="65699" y="899"/>
                    </a:cubicBezTo>
                    <a:cubicBezTo>
                      <a:pt x="68169" y="-743"/>
                      <a:pt x="71502" y="-72"/>
                      <a:pt x="73145" y="2397"/>
                    </a:cubicBezTo>
                    <a:cubicBezTo>
                      <a:pt x="73170" y="2435"/>
                      <a:pt x="73194" y="2472"/>
                      <a:pt x="73218" y="2510"/>
                    </a:cubicBezTo>
                    <a:cubicBezTo>
                      <a:pt x="73504" y="2940"/>
                      <a:pt x="80915" y="13860"/>
                      <a:pt x="98566" y="13860"/>
                    </a:cubicBezTo>
                    <a:cubicBezTo>
                      <a:pt x="101532" y="13860"/>
                      <a:pt x="103936" y="16264"/>
                      <a:pt x="103936" y="19230"/>
                    </a:cubicBezTo>
                    <a:cubicBezTo>
                      <a:pt x="103936" y="22196"/>
                      <a:pt x="101532" y="24600"/>
                      <a:pt x="98566" y="24600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4" name="Рисунок 61">
                <a:extLst>
                  <a:ext uri="{FF2B5EF4-FFF2-40B4-BE49-F238E27FC236}">
                    <a16:creationId xmlns:a16="http://schemas.microsoft.com/office/drawing/2014/main" id="{9D9ED747-59DB-48FE-9360-F0F3E838E15D}"/>
                  </a:ext>
                </a:extLst>
              </p:cNvPr>
              <p:cNvSpPr/>
              <p:nvPr/>
            </p:nvSpPr>
            <p:spPr>
              <a:xfrm>
                <a:off x="2060247" y="3118286"/>
                <a:ext cx="110532" cy="74756"/>
              </a:xfrm>
              <a:custGeom>
                <a:avLst/>
                <a:gdLst>
                  <a:gd name="connsiteX0" fmla="*/ 105159 w 110532"/>
                  <a:gd name="connsiteY0" fmla="*/ 74756 h 74756"/>
                  <a:gd name="connsiteX1" fmla="*/ 8492 w 110532"/>
                  <a:gd name="connsiteY1" fmla="*/ 74756 h 74756"/>
                  <a:gd name="connsiteX2" fmla="*/ 3121 w 110532"/>
                  <a:gd name="connsiteY2" fmla="*/ 69386 h 74756"/>
                  <a:gd name="connsiteX3" fmla="*/ 8492 w 110532"/>
                  <a:gd name="connsiteY3" fmla="*/ 64016 h 74756"/>
                  <a:gd name="connsiteX4" fmla="*/ 99538 w 110532"/>
                  <a:gd name="connsiteY4" fmla="*/ 64016 h 74756"/>
                  <a:gd name="connsiteX5" fmla="*/ 42504 w 110532"/>
                  <a:gd name="connsiteY5" fmla="*/ 10741 h 74756"/>
                  <a:gd name="connsiteX6" fmla="*/ 8456 w 110532"/>
                  <a:gd name="connsiteY6" fmla="*/ 22198 h 74756"/>
                  <a:gd name="connsiteX7" fmla="*/ 975 w 110532"/>
                  <a:gd name="connsiteY7" fmla="*/ 20887 h 74756"/>
                  <a:gd name="connsiteX8" fmla="*/ 1975 w 110532"/>
                  <a:gd name="connsiteY8" fmla="*/ 13641 h 74756"/>
                  <a:gd name="connsiteX9" fmla="*/ 42504 w 110532"/>
                  <a:gd name="connsiteY9" fmla="*/ 0 h 74756"/>
                  <a:gd name="connsiteX10" fmla="*/ 110529 w 110532"/>
                  <a:gd name="connsiteY10" fmla="*/ 69386 h 74756"/>
                  <a:gd name="connsiteX11" fmla="*/ 105159 w 110532"/>
                  <a:gd name="connsiteY11" fmla="*/ 74756 h 74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0532" h="74756">
                    <a:moveTo>
                      <a:pt x="105159" y="74756"/>
                    </a:moveTo>
                    <a:lnTo>
                      <a:pt x="8492" y="74756"/>
                    </a:lnTo>
                    <a:cubicBezTo>
                      <a:pt x="5526" y="74756"/>
                      <a:pt x="3121" y="72352"/>
                      <a:pt x="3121" y="69386"/>
                    </a:cubicBezTo>
                    <a:cubicBezTo>
                      <a:pt x="3121" y="66420"/>
                      <a:pt x="5526" y="64016"/>
                      <a:pt x="8492" y="64016"/>
                    </a:cubicBezTo>
                    <a:lnTo>
                      <a:pt x="99538" y="64016"/>
                    </a:lnTo>
                    <a:cubicBezTo>
                      <a:pt x="97153" y="34186"/>
                      <a:pt x="72427" y="11090"/>
                      <a:pt x="42504" y="10741"/>
                    </a:cubicBezTo>
                    <a:cubicBezTo>
                      <a:pt x="30204" y="10714"/>
                      <a:pt x="18238" y="14741"/>
                      <a:pt x="8456" y="22198"/>
                    </a:cubicBezTo>
                    <a:cubicBezTo>
                      <a:pt x="6028" y="23902"/>
                      <a:pt x="2679" y="23315"/>
                      <a:pt x="975" y="20887"/>
                    </a:cubicBezTo>
                    <a:cubicBezTo>
                      <a:pt x="-642" y="18583"/>
                      <a:pt x="-206" y="15421"/>
                      <a:pt x="1975" y="13641"/>
                    </a:cubicBezTo>
                    <a:cubicBezTo>
                      <a:pt x="13618" y="4762"/>
                      <a:pt x="27862" y="-32"/>
                      <a:pt x="42504" y="0"/>
                    </a:cubicBezTo>
                    <a:cubicBezTo>
                      <a:pt x="80433" y="413"/>
                      <a:pt x="110867" y="31456"/>
                      <a:pt x="110529" y="69386"/>
                    </a:cubicBezTo>
                    <a:cubicBezTo>
                      <a:pt x="110529" y="72352"/>
                      <a:pt x="108125" y="74756"/>
                      <a:pt x="105159" y="747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5" name="Рисунок 61">
                <a:extLst>
                  <a:ext uri="{FF2B5EF4-FFF2-40B4-BE49-F238E27FC236}">
                    <a16:creationId xmlns:a16="http://schemas.microsoft.com/office/drawing/2014/main" id="{EE01DCE1-A935-446C-84CA-A7274F7BA749}"/>
                  </a:ext>
                </a:extLst>
              </p:cNvPr>
              <p:cNvSpPr/>
              <p:nvPr/>
            </p:nvSpPr>
            <p:spPr>
              <a:xfrm>
                <a:off x="2056208" y="3014028"/>
                <a:ext cx="93087" cy="93087"/>
              </a:xfrm>
              <a:custGeom>
                <a:avLst/>
                <a:gdLst>
                  <a:gd name="connsiteX0" fmla="*/ 46544 w 93087"/>
                  <a:gd name="connsiteY0" fmla="*/ 93087 h 93087"/>
                  <a:gd name="connsiteX1" fmla="*/ 0 w 93087"/>
                  <a:gd name="connsiteY1" fmla="*/ 46544 h 93087"/>
                  <a:gd name="connsiteX2" fmla="*/ 46544 w 93087"/>
                  <a:gd name="connsiteY2" fmla="*/ 0 h 93087"/>
                  <a:gd name="connsiteX3" fmla="*/ 93087 w 93087"/>
                  <a:gd name="connsiteY3" fmla="*/ 46544 h 93087"/>
                  <a:gd name="connsiteX4" fmla="*/ 46544 w 93087"/>
                  <a:gd name="connsiteY4" fmla="*/ 93087 h 93087"/>
                  <a:gd name="connsiteX5" fmla="*/ 46544 w 93087"/>
                  <a:gd name="connsiteY5" fmla="*/ 10741 h 93087"/>
                  <a:gd name="connsiteX6" fmla="*/ 10741 w 93087"/>
                  <a:gd name="connsiteY6" fmla="*/ 46544 h 93087"/>
                  <a:gd name="connsiteX7" fmla="*/ 46544 w 93087"/>
                  <a:gd name="connsiteY7" fmla="*/ 82346 h 93087"/>
                  <a:gd name="connsiteX8" fmla="*/ 82346 w 93087"/>
                  <a:gd name="connsiteY8" fmla="*/ 46544 h 93087"/>
                  <a:gd name="connsiteX9" fmla="*/ 46544 w 93087"/>
                  <a:gd name="connsiteY9" fmla="*/ 10741 h 93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087" h="93087">
                    <a:moveTo>
                      <a:pt x="46544" y="93087"/>
                    </a:moveTo>
                    <a:cubicBezTo>
                      <a:pt x="20838" y="93087"/>
                      <a:pt x="0" y="72249"/>
                      <a:pt x="0" y="46544"/>
                    </a:cubicBezTo>
                    <a:cubicBezTo>
                      <a:pt x="0" y="20838"/>
                      <a:pt x="20838" y="0"/>
                      <a:pt x="46544" y="0"/>
                    </a:cubicBezTo>
                    <a:cubicBezTo>
                      <a:pt x="72249" y="0"/>
                      <a:pt x="93087" y="20838"/>
                      <a:pt x="93087" y="46544"/>
                    </a:cubicBezTo>
                    <a:cubicBezTo>
                      <a:pt x="93087" y="72249"/>
                      <a:pt x="72249" y="93087"/>
                      <a:pt x="46544" y="93087"/>
                    </a:cubicBezTo>
                    <a:close/>
                    <a:moveTo>
                      <a:pt x="46544" y="10741"/>
                    </a:moveTo>
                    <a:cubicBezTo>
                      <a:pt x="26770" y="10741"/>
                      <a:pt x="10741" y="26770"/>
                      <a:pt x="10741" y="46544"/>
                    </a:cubicBezTo>
                    <a:cubicBezTo>
                      <a:pt x="10741" y="66317"/>
                      <a:pt x="26770" y="82346"/>
                      <a:pt x="46544" y="82346"/>
                    </a:cubicBezTo>
                    <a:cubicBezTo>
                      <a:pt x="66317" y="82346"/>
                      <a:pt x="82346" y="66317"/>
                      <a:pt x="82346" y="46544"/>
                    </a:cubicBezTo>
                    <a:cubicBezTo>
                      <a:pt x="82346" y="26770"/>
                      <a:pt x="66317" y="10741"/>
                      <a:pt x="46544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6" name="Рисунок 61">
                <a:extLst>
                  <a:ext uri="{FF2B5EF4-FFF2-40B4-BE49-F238E27FC236}">
                    <a16:creationId xmlns:a16="http://schemas.microsoft.com/office/drawing/2014/main" id="{B1AB6DF4-8E44-45B9-A033-33D7C2357650}"/>
                  </a:ext>
                </a:extLst>
              </p:cNvPr>
              <p:cNvSpPr/>
              <p:nvPr/>
            </p:nvSpPr>
            <p:spPr>
              <a:xfrm>
                <a:off x="2084792" y="3019985"/>
                <a:ext cx="64524" cy="45600"/>
              </a:xfrm>
              <a:custGeom>
                <a:avLst/>
                <a:gdLst>
                  <a:gd name="connsiteX0" fmla="*/ 45671 w 64524"/>
                  <a:gd name="connsiteY0" fmla="*/ 45599 h 45600"/>
                  <a:gd name="connsiteX1" fmla="*/ 58 w 64524"/>
                  <a:gd name="connsiteY1" fmla="*/ 6216 h 45600"/>
                  <a:gd name="connsiteX2" fmla="*/ 4641 w 64524"/>
                  <a:gd name="connsiteY2" fmla="*/ 58 h 45600"/>
                  <a:gd name="connsiteX3" fmla="*/ 10799 w 64524"/>
                  <a:gd name="connsiteY3" fmla="*/ 4641 h 45600"/>
                  <a:gd name="connsiteX4" fmla="*/ 51225 w 64524"/>
                  <a:gd name="connsiteY4" fmla="*/ 34450 h 45600"/>
                  <a:gd name="connsiteX5" fmla="*/ 57343 w 64524"/>
                  <a:gd name="connsiteY5" fmla="*/ 32961 h 45600"/>
                  <a:gd name="connsiteX6" fmla="*/ 64217 w 64524"/>
                  <a:gd name="connsiteY6" fmla="*/ 36255 h 45600"/>
                  <a:gd name="connsiteX7" fmla="*/ 60923 w 64524"/>
                  <a:gd name="connsiteY7" fmla="*/ 43129 h 45600"/>
                  <a:gd name="connsiteX8" fmla="*/ 45671 w 64524"/>
                  <a:gd name="connsiteY8" fmla="*/ 45599 h 45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524" h="45600">
                    <a:moveTo>
                      <a:pt x="45671" y="45599"/>
                    </a:moveTo>
                    <a:cubicBezTo>
                      <a:pt x="22873" y="45415"/>
                      <a:pt x="3565" y="28743"/>
                      <a:pt x="58" y="6216"/>
                    </a:cubicBezTo>
                    <a:cubicBezTo>
                      <a:pt x="-377" y="3250"/>
                      <a:pt x="1675" y="493"/>
                      <a:pt x="4641" y="58"/>
                    </a:cubicBezTo>
                    <a:cubicBezTo>
                      <a:pt x="7607" y="-377"/>
                      <a:pt x="10364" y="1675"/>
                      <a:pt x="10799" y="4641"/>
                    </a:cubicBezTo>
                    <a:cubicBezTo>
                      <a:pt x="13731" y="24036"/>
                      <a:pt x="31830" y="37382"/>
                      <a:pt x="51225" y="34450"/>
                    </a:cubicBezTo>
                    <a:cubicBezTo>
                      <a:pt x="53304" y="34136"/>
                      <a:pt x="55351" y="33638"/>
                      <a:pt x="57343" y="32961"/>
                    </a:cubicBezTo>
                    <a:cubicBezTo>
                      <a:pt x="60150" y="31972"/>
                      <a:pt x="63228" y="33447"/>
                      <a:pt x="64217" y="36255"/>
                    </a:cubicBezTo>
                    <a:cubicBezTo>
                      <a:pt x="65205" y="39062"/>
                      <a:pt x="63731" y="42140"/>
                      <a:pt x="60923" y="43129"/>
                    </a:cubicBezTo>
                    <a:cubicBezTo>
                      <a:pt x="56014" y="44804"/>
                      <a:pt x="50858" y="45639"/>
                      <a:pt x="45671" y="45599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7" name="Рисунок 61">
                <a:extLst>
                  <a:ext uri="{FF2B5EF4-FFF2-40B4-BE49-F238E27FC236}">
                    <a16:creationId xmlns:a16="http://schemas.microsoft.com/office/drawing/2014/main" id="{6EAD5B8D-CEED-4362-8250-BF99F8E77BBD}"/>
                  </a:ext>
                </a:extLst>
              </p:cNvPr>
              <p:cNvSpPr/>
              <p:nvPr/>
            </p:nvSpPr>
            <p:spPr>
              <a:xfrm>
                <a:off x="2138554" y="3056991"/>
                <a:ext cx="28939" cy="96667"/>
              </a:xfrm>
              <a:custGeom>
                <a:avLst/>
                <a:gdLst>
                  <a:gd name="connsiteX0" fmla="*/ 16111 w 28939"/>
                  <a:gd name="connsiteY0" fmla="*/ 96667 h 96667"/>
                  <a:gd name="connsiteX1" fmla="*/ 10741 w 28939"/>
                  <a:gd name="connsiteY1" fmla="*/ 91297 h 96667"/>
                  <a:gd name="connsiteX2" fmla="*/ 11815 w 28939"/>
                  <a:gd name="connsiteY2" fmla="*/ 88075 h 96667"/>
                  <a:gd name="connsiteX3" fmla="*/ 9846 w 28939"/>
                  <a:gd name="connsiteY3" fmla="*/ 41531 h 96667"/>
                  <a:gd name="connsiteX4" fmla="*/ 0 w 28939"/>
                  <a:gd name="connsiteY4" fmla="*/ 5370 h 96667"/>
                  <a:gd name="connsiteX5" fmla="*/ 5370 w 28939"/>
                  <a:gd name="connsiteY5" fmla="*/ 0 h 96667"/>
                  <a:gd name="connsiteX6" fmla="*/ 10741 w 28939"/>
                  <a:gd name="connsiteY6" fmla="*/ 5370 h 96667"/>
                  <a:gd name="connsiteX7" fmla="*/ 19727 w 28939"/>
                  <a:gd name="connsiteY7" fmla="*/ 37271 h 96667"/>
                  <a:gd name="connsiteX8" fmla="*/ 20408 w 28939"/>
                  <a:gd name="connsiteY8" fmla="*/ 94555 h 96667"/>
                  <a:gd name="connsiteX9" fmla="*/ 16111 w 28939"/>
                  <a:gd name="connsiteY9" fmla="*/ 96667 h 96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939" h="96667">
                    <a:moveTo>
                      <a:pt x="16111" y="96667"/>
                    </a:moveTo>
                    <a:cubicBezTo>
                      <a:pt x="13145" y="96667"/>
                      <a:pt x="10741" y="94263"/>
                      <a:pt x="10741" y="91297"/>
                    </a:cubicBezTo>
                    <a:cubicBezTo>
                      <a:pt x="10741" y="90135"/>
                      <a:pt x="11118" y="89004"/>
                      <a:pt x="11815" y="88075"/>
                    </a:cubicBezTo>
                    <a:cubicBezTo>
                      <a:pt x="23200" y="72930"/>
                      <a:pt x="17006" y="58323"/>
                      <a:pt x="9846" y="41531"/>
                    </a:cubicBezTo>
                    <a:cubicBezTo>
                      <a:pt x="5012" y="30074"/>
                      <a:pt x="0" y="18331"/>
                      <a:pt x="0" y="5370"/>
                    </a:cubicBezTo>
                    <a:cubicBezTo>
                      <a:pt x="0" y="2405"/>
                      <a:pt x="2405" y="0"/>
                      <a:pt x="5370" y="0"/>
                    </a:cubicBezTo>
                    <a:cubicBezTo>
                      <a:pt x="8336" y="0"/>
                      <a:pt x="10741" y="2405"/>
                      <a:pt x="10741" y="5370"/>
                    </a:cubicBezTo>
                    <a:cubicBezTo>
                      <a:pt x="10741" y="16111"/>
                      <a:pt x="15288" y="26852"/>
                      <a:pt x="19727" y="37271"/>
                    </a:cubicBezTo>
                    <a:cubicBezTo>
                      <a:pt x="27497" y="55530"/>
                      <a:pt x="35516" y="74398"/>
                      <a:pt x="20408" y="94555"/>
                    </a:cubicBezTo>
                    <a:cubicBezTo>
                      <a:pt x="19386" y="95894"/>
                      <a:pt x="17795" y="96676"/>
                      <a:pt x="16111" y="96667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8" name="Рисунок 61">
                <a:extLst>
                  <a:ext uri="{FF2B5EF4-FFF2-40B4-BE49-F238E27FC236}">
                    <a16:creationId xmlns:a16="http://schemas.microsoft.com/office/drawing/2014/main" id="{5EB3BEF0-2A04-4359-AB7A-8EF96A4314BE}"/>
                  </a:ext>
                </a:extLst>
              </p:cNvPr>
              <p:cNvSpPr/>
              <p:nvPr/>
            </p:nvSpPr>
            <p:spPr>
              <a:xfrm>
                <a:off x="2040752" y="3057135"/>
                <a:ext cx="26268" cy="60327"/>
              </a:xfrm>
              <a:custGeom>
                <a:avLst/>
                <a:gdLst>
                  <a:gd name="connsiteX0" fmla="*/ 5503 w 26268"/>
                  <a:gd name="connsiteY0" fmla="*/ 60328 h 60327"/>
                  <a:gd name="connsiteX1" fmla="*/ 3820 w 26268"/>
                  <a:gd name="connsiteY1" fmla="*/ 60041 h 60327"/>
                  <a:gd name="connsiteX2" fmla="*/ 212 w 26268"/>
                  <a:gd name="connsiteY2" fmla="*/ 53473 h 60327"/>
                  <a:gd name="connsiteX3" fmla="*/ 240 w 26268"/>
                  <a:gd name="connsiteY3" fmla="*/ 53382 h 60327"/>
                  <a:gd name="connsiteX4" fmla="*/ 1744 w 26268"/>
                  <a:gd name="connsiteY4" fmla="*/ 49802 h 60327"/>
                  <a:gd name="connsiteX5" fmla="*/ 15528 w 26268"/>
                  <a:gd name="connsiteY5" fmla="*/ 5370 h 60327"/>
                  <a:gd name="connsiteX6" fmla="*/ 20898 w 26268"/>
                  <a:gd name="connsiteY6" fmla="*/ 0 h 60327"/>
                  <a:gd name="connsiteX7" fmla="*/ 26268 w 26268"/>
                  <a:gd name="connsiteY7" fmla="*/ 5370 h 60327"/>
                  <a:gd name="connsiteX8" fmla="*/ 11661 w 26268"/>
                  <a:gd name="connsiteY8" fmla="*/ 53955 h 60327"/>
                  <a:gd name="connsiteX9" fmla="*/ 10479 w 26268"/>
                  <a:gd name="connsiteY9" fmla="*/ 56819 h 60327"/>
                  <a:gd name="connsiteX10" fmla="*/ 5503 w 26268"/>
                  <a:gd name="connsiteY10" fmla="*/ 60328 h 60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268" h="60327">
                    <a:moveTo>
                      <a:pt x="5503" y="60328"/>
                    </a:moveTo>
                    <a:cubicBezTo>
                      <a:pt x="4930" y="60325"/>
                      <a:pt x="4361" y="60228"/>
                      <a:pt x="3820" y="60041"/>
                    </a:cubicBezTo>
                    <a:cubicBezTo>
                      <a:pt x="1010" y="59224"/>
                      <a:pt x="-605" y="56283"/>
                      <a:pt x="212" y="53473"/>
                    </a:cubicBezTo>
                    <a:cubicBezTo>
                      <a:pt x="221" y="53443"/>
                      <a:pt x="231" y="53412"/>
                      <a:pt x="240" y="53382"/>
                    </a:cubicBezTo>
                    <a:cubicBezTo>
                      <a:pt x="240" y="52952"/>
                      <a:pt x="920" y="51628"/>
                      <a:pt x="1744" y="49802"/>
                    </a:cubicBezTo>
                    <a:cubicBezTo>
                      <a:pt x="5324" y="41674"/>
                      <a:pt x="15528" y="16971"/>
                      <a:pt x="15528" y="5370"/>
                    </a:cubicBezTo>
                    <a:cubicBezTo>
                      <a:pt x="15528" y="2405"/>
                      <a:pt x="17932" y="0"/>
                      <a:pt x="20898" y="0"/>
                    </a:cubicBezTo>
                    <a:cubicBezTo>
                      <a:pt x="23864" y="0"/>
                      <a:pt x="26268" y="2405"/>
                      <a:pt x="26268" y="5370"/>
                    </a:cubicBezTo>
                    <a:cubicBezTo>
                      <a:pt x="26268" y="17687"/>
                      <a:pt x="17926" y="38989"/>
                      <a:pt x="11661" y="53955"/>
                    </a:cubicBezTo>
                    <a:cubicBezTo>
                      <a:pt x="11052" y="55423"/>
                      <a:pt x="10623" y="56425"/>
                      <a:pt x="10479" y="56819"/>
                    </a:cubicBezTo>
                    <a:cubicBezTo>
                      <a:pt x="9691" y="58894"/>
                      <a:pt x="7722" y="60283"/>
                      <a:pt x="5503" y="60328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9" name="Рисунок 61">
                <a:extLst>
                  <a:ext uri="{FF2B5EF4-FFF2-40B4-BE49-F238E27FC236}">
                    <a16:creationId xmlns:a16="http://schemas.microsoft.com/office/drawing/2014/main" id="{3E84D4B0-4755-4A28-B66E-111EEE2CFE3C}"/>
                  </a:ext>
                </a:extLst>
              </p:cNvPr>
              <p:cNvSpPr/>
              <p:nvPr/>
            </p:nvSpPr>
            <p:spPr>
              <a:xfrm>
                <a:off x="1938846" y="3223474"/>
                <a:ext cx="136050" cy="73395"/>
              </a:xfrm>
              <a:custGeom>
                <a:avLst/>
                <a:gdLst>
                  <a:gd name="connsiteX0" fmla="*/ 130680 w 136050"/>
                  <a:gd name="connsiteY0" fmla="*/ 73396 h 73395"/>
                  <a:gd name="connsiteX1" fmla="*/ 5370 w 136050"/>
                  <a:gd name="connsiteY1" fmla="*/ 73396 h 73395"/>
                  <a:gd name="connsiteX2" fmla="*/ 0 w 136050"/>
                  <a:gd name="connsiteY2" fmla="*/ 68025 h 73395"/>
                  <a:gd name="connsiteX3" fmla="*/ 68025 w 136050"/>
                  <a:gd name="connsiteY3" fmla="*/ 0 h 73395"/>
                  <a:gd name="connsiteX4" fmla="*/ 136051 w 136050"/>
                  <a:gd name="connsiteY4" fmla="*/ 68025 h 73395"/>
                  <a:gd name="connsiteX5" fmla="*/ 130680 w 136050"/>
                  <a:gd name="connsiteY5" fmla="*/ 73396 h 73395"/>
                  <a:gd name="connsiteX6" fmla="*/ 10956 w 136050"/>
                  <a:gd name="connsiteY6" fmla="*/ 62655 h 73395"/>
                  <a:gd name="connsiteX7" fmla="*/ 125059 w 136050"/>
                  <a:gd name="connsiteY7" fmla="*/ 62655 h 73395"/>
                  <a:gd name="connsiteX8" fmla="*/ 62849 w 136050"/>
                  <a:gd name="connsiteY8" fmla="*/ 10762 h 73395"/>
                  <a:gd name="connsiteX9" fmla="*/ 10956 w 136050"/>
                  <a:gd name="connsiteY9" fmla="*/ 62655 h 73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6050" h="73395">
                    <a:moveTo>
                      <a:pt x="130680" y="73396"/>
                    </a:moveTo>
                    <a:lnTo>
                      <a:pt x="5370" y="73396"/>
                    </a:lnTo>
                    <a:cubicBezTo>
                      <a:pt x="2405" y="73396"/>
                      <a:pt x="0" y="70991"/>
                      <a:pt x="0" y="68025"/>
                    </a:cubicBezTo>
                    <a:cubicBezTo>
                      <a:pt x="0" y="30456"/>
                      <a:pt x="30456" y="0"/>
                      <a:pt x="68025" y="0"/>
                    </a:cubicBezTo>
                    <a:cubicBezTo>
                      <a:pt x="105595" y="0"/>
                      <a:pt x="136051" y="30456"/>
                      <a:pt x="136051" y="68025"/>
                    </a:cubicBezTo>
                    <a:cubicBezTo>
                      <a:pt x="136051" y="70991"/>
                      <a:pt x="133646" y="73396"/>
                      <a:pt x="130680" y="73396"/>
                    </a:cubicBezTo>
                    <a:close/>
                    <a:moveTo>
                      <a:pt x="10956" y="62655"/>
                    </a:moveTo>
                    <a:lnTo>
                      <a:pt x="125059" y="62655"/>
                    </a:lnTo>
                    <a:cubicBezTo>
                      <a:pt x="122210" y="31146"/>
                      <a:pt x="94358" y="7912"/>
                      <a:pt x="62849" y="10762"/>
                    </a:cubicBezTo>
                    <a:cubicBezTo>
                      <a:pt x="35287" y="13253"/>
                      <a:pt x="13448" y="35093"/>
                      <a:pt x="10956" y="62655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0" name="Рисунок 61">
                <a:extLst>
                  <a:ext uri="{FF2B5EF4-FFF2-40B4-BE49-F238E27FC236}">
                    <a16:creationId xmlns:a16="http://schemas.microsoft.com/office/drawing/2014/main" id="{59C9E2DA-DBAF-4F86-97A6-82FAACE90BF3}"/>
                  </a:ext>
                </a:extLst>
              </p:cNvPr>
              <p:cNvSpPr/>
              <p:nvPr/>
            </p:nvSpPr>
            <p:spPr>
              <a:xfrm>
                <a:off x="1959540" y="3117856"/>
                <a:ext cx="93087" cy="93087"/>
              </a:xfrm>
              <a:custGeom>
                <a:avLst/>
                <a:gdLst>
                  <a:gd name="connsiteX0" fmla="*/ 46544 w 93087"/>
                  <a:gd name="connsiteY0" fmla="*/ 93087 h 93087"/>
                  <a:gd name="connsiteX1" fmla="*/ 0 w 93087"/>
                  <a:gd name="connsiteY1" fmla="*/ 46544 h 93087"/>
                  <a:gd name="connsiteX2" fmla="*/ 46544 w 93087"/>
                  <a:gd name="connsiteY2" fmla="*/ 0 h 93087"/>
                  <a:gd name="connsiteX3" fmla="*/ 93087 w 93087"/>
                  <a:gd name="connsiteY3" fmla="*/ 46544 h 93087"/>
                  <a:gd name="connsiteX4" fmla="*/ 46544 w 93087"/>
                  <a:gd name="connsiteY4" fmla="*/ 93087 h 93087"/>
                  <a:gd name="connsiteX5" fmla="*/ 46544 w 93087"/>
                  <a:gd name="connsiteY5" fmla="*/ 10741 h 93087"/>
                  <a:gd name="connsiteX6" fmla="*/ 10741 w 93087"/>
                  <a:gd name="connsiteY6" fmla="*/ 46544 h 93087"/>
                  <a:gd name="connsiteX7" fmla="*/ 46544 w 93087"/>
                  <a:gd name="connsiteY7" fmla="*/ 82346 h 93087"/>
                  <a:gd name="connsiteX8" fmla="*/ 82346 w 93087"/>
                  <a:gd name="connsiteY8" fmla="*/ 46544 h 93087"/>
                  <a:gd name="connsiteX9" fmla="*/ 46544 w 93087"/>
                  <a:gd name="connsiteY9" fmla="*/ 10741 h 93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087" h="93087">
                    <a:moveTo>
                      <a:pt x="46544" y="93087"/>
                    </a:moveTo>
                    <a:cubicBezTo>
                      <a:pt x="20838" y="93087"/>
                      <a:pt x="0" y="72249"/>
                      <a:pt x="0" y="46544"/>
                    </a:cubicBezTo>
                    <a:cubicBezTo>
                      <a:pt x="0" y="20838"/>
                      <a:pt x="20838" y="0"/>
                      <a:pt x="46544" y="0"/>
                    </a:cubicBezTo>
                    <a:cubicBezTo>
                      <a:pt x="72249" y="0"/>
                      <a:pt x="93087" y="20838"/>
                      <a:pt x="93087" y="46544"/>
                    </a:cubicBezTo>
                    <a:cubicBezTo>
                      <a:pt x="93087" y="72249"/>
                      <a:pt x="72249" y="93087"/>
                      <a:pt x="46544" y="93087"/>
                    </a:cubicBezTo>
                    <a:close/>
                    <a:moveTo>
                      <a:pt x="46544" y="10741"/>
                    </a:moveTo>
                    <a:cubicBezTo>
                      <a:pt x="26770" y="10741"/>
                      <a:pt x="10741" y="26770"/>
                      <a:pt x="10741" y="46544"/>
                    </a:cubicBezTo>
                    <a:cubicBezTo>
                      <a:pt x="10741" y="66317"/>
                      <a:pt x="26770" y="82346"/>
                      <a:pt x="46544" y="82346"/>
                    </a:cubicBezTo>
                    <a:cubicBezTo>
                      <a:pt x="66317" y="82346"/>
                      <a:pt x="82346" y="66317"/>
                      <a:pt x="82346" y="46544"/>
                    </a:cubicBezTo>
                    <a:cubicBezTo>
                      <a:pt x="82346" y="26770"/>
                      <a:pt x="66317" y="10741"/>
                      <a:pt x="46544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1" name="Рисунок 61">
                <a:extLst>
                  <a:ext uri="{FF2B5EF4-FFF2-40B4-BE49-F238E27FC236}">
                    <a16:creationId xmlns:a16="http://schemas.microsoft.com/office/drawing/2014/main" id="{1B8414C8-3941-42E5-BDBB-59C05E0BD0DB}"/>
                  </a:ext>
                </a:extLst>
              </p:cNvPr>
              <p:cNvSpPr/>
              <p:nvPr/>
            </p:nvSpPr>
            <p:spPr>
              <a:xfrm>
                <a:off x="1964890" y="3238061"/>
                <a:ext cx="83784" cy="20715"/>
              </a:xfrm>
              <a:custGeom>
                <a:avLst/>
                <a:gdLst>
                  <a:gd name="connsiteX0" fmla="*/ 41982 w 83784"/>
                  <a:gd name="connsiteY0" fmla="*/ 20715 h 20715"/>
                  <a:gd name="connsiteX1" fmla="*/ 2599 w 83784"/>
                  <a:gd name="connsiteY1" fmla="*/ 9974 h 20715"/>
                  <a:gd name="connsiteX2" fmla="*/ 773 w 83784"/>
                  <a:gd name="connsiteY2" fmla="*/ 2599 h 20715"/>
                  <a:gd name="connsiteX3" fmla="*/ 8148 w 83784"/>
                  <a:gd name="connsiteY3" fmla="*/ 773 h 20715"/>
                  <a:gd name="connsiteX4" fmla="*/ 75636 w 83784"/>
                  <a:gd name="connsiteY4" fmla="*/ 773 h 20715"/>
                  <a:gd name="connsiteX5" fmla="*/ 83012 w 83784"/>
                  <a:gd name="connsiteY5" fmla="*/ 2599 h 20715"/>
                  <a:gd name="connsiteX6" fmla="*/ 81186 w 83784"/>
                  <a:gd name="connsiteY6" fmla="*/ 9974 h 20715"/>
                  <a:gd name="connsiteX7" fmla="*/ 41982 w 83784"/>
                  <a:gd name="connsiteY7" fmla="*/ 20715 h 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784" h="20715">
                    <a:moveTo>
                      <a:pt x="41982" y="20715"/>
                    </a:moveTo>
                    <a:cubicBezTo>
                      <a:pt x="28121" y="20789"/>
                      <a:pt x="14503" y="17075"/>
                      <a:pt x="2599" y="9974"/>
                    </a:cubicBezTo>
                    <a:cubicBezTo>
                      <a:pt x="58" y="8442"/>
                      <a:pt x="-760" y="5140"/>
                      <a:pt x="773" y="2599"/>
                    </a:cubicBezTo>
                    <a:cubicBezTo>
                      <a:pt x="2305" y="58"/>
                      <a:pt x="5607" y="-760"/>
                      <a:pt x="8148" y="773"/>
                    </a:cubicBezTo>
                    <a:cubicBezTo>
                      <a:pt x="28916" y="13242"/>
                      <a:pt x="54868" y="13242"/>
                      <a:pt x="75636" y="773"/>
                    </a:cubicBezTo>
                    <a:cubicBezTo>
                      <a:pt x="78177" y="-760"/>
                      <a:pt x="81479" y="58"/>
                      <a:pt x="83012" y="2599"/>
                    </a:cubicBezTo>
                    <a:cubicBezTo>
                      <a:pt x="84544" y="5140"/>
                      <a:pt x="83727" y="8442"/>
                      <a:pt x="81186" y="9974"/>
                    </a:cubicBezTo>
                    <a:cubicBezTo>
                      <a:pt x="69333" y="17042"/>
                      <a:pt x="55782" y="20755"/>
                      <a:pt x="41982" y="20715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2" name="Рисунок 61">
                <a:extLst>
                  <a:ext uri="{FF2B5EF4-FFF2-40B4-BE49-F238E27FC236}">
                    <a16:creationId xmlns:a16="http://schemas.microsoft.com/office/drawing/2014/main" id="{478114CF-3B7A-4111-BE0A-783CFEDB2F98}"/>
                  </a:ext>
                </a:extLst>
              </p:cNvPr>
              <p:cNvSpPr/>
              <p:nvPr/>
            </p:nvSpPr>
            <p:spPr>
              <a:xfrm>
                <a:off x="1971856" y="3146498"/>
                <a:ext cx="70495" cy="8632"/>
              </a:xfrm>
              <a:custGeom>
                <a:avLst/>
                <a:gdLst>
                  <a:gd name="connsiteX0" fmla="*/ 0 w 70495"/>
                  <a:gd name="connsiteY0" fmla="*/ 2148 h 8632"/>
                  <a:gd name="connsiteX1" fmla="*/ 43679 w 70495"/>
                  <a:gd name="connsiteY1" fmla="*/ 0 h 8632"/>
                  <a:gd name="connsiteX2" fmla="*/ 70496 w 70495"/>
                  <a:gd name="connsiteY2" fmla="*/ 1396 h 8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495" h="8632">
                    <a:moveTo>
                      <a:pt x="0" y="2148"/>
                    </a:moveTo>
                    <a:cubicBezTo>
                      <a:pt x="20372" y="17901"/>
                      <a:pt x="43679" y="0"/>
                      <a:pt x="43679" y="0"/>
                    </a:cubicBezTo>
                    <a:cubicBezTo>
                      <a:pt x="43679" y="0"/>
                      <a:pt x="59039" y="16684"/>
                      <a:pt x="70496" y="1396"/>
                    </a:cubicBezTo>
                  </a:path>
                </a:pathLst>
              </a:custGeom>
              <a:solidFill>
                <a:srgbClr val="FFFFFF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3" name="Рисунок 61">
                <a:extLst>
                  <a:ext uri="{FF2B5EF4-FFF2-40B4-BE49-F238E27FC236}">
                    <a16:creationId xmlns:a16="http://schemas.microsoft.com/office/drawing/2014/main" id="{36823691-AA10-409B-9D8D-4B23F95E0AD5}"/>
                  </a:ext>
                </a:extLst>
              </p:cNvPr>
              <p:cNvSpPr/>
              <p:nvPr/>
            </p:nvSpPr>
            <p:spPr>
              <a:xfrm>
                <a:off x="1966485" y="3141077"/>
                <a:ext cx="81202" cy="19385"/>
              </a:xfrm>
              <a:custGeom>
                <a:avLst/>
                <a:gdLst>
                  <a:gd name="connsiteX0" fmla="*/ 24096 w 81202"/>
                  <a:gd name="connsiteY0" fmla="*/ 19384 h 19385"/>
                  <a:gd name="connsiteX1" fmla="*/ 2078 w 81202"/>
                  <a:gd name="connsiteY1" fmla="*/ 11830 h 19385"/>
                  <a:gd name="connsiteX2" fmla="*/ 1129 w 81202"/>
                  <a:gd name="connsiteY2" fmla="*/ 4294 h 19385"/>
                  <a:gd name="connsiteX3" fmla="*/ 8665 w 81202"/>
                  <a:gd name="connsiteY3" fmla="*/ 3345 h 19385"/>
                  <a:gd name="connsiteX4" fmla="*/ 45793 w 81202"/>
                  <a:gd name="connsiteY4" fmla="*/ 1089 h 19385"/>
                  <a:gd name="connsiteX5" fmla="*/ 52953 w 81202"/>
                  <a:gd name="connsiteY5" fmla="*/ 1698 h 19385"/>
                  <a:gd name="connsiteX6" fmla="*/ 64876 w 81202"/>
                  <a:gd name="connsiteY6" fmla="*/ 7820 h 19385"/>
                  <a:gd name="connsiteX7" fmla="*/ 71535 w 81202"/>
                  <a:gd name="connsiteY7" fmla="*/ 3524 h 19385"/>
                  <a:gd name="connsiteX8" fmla="*/ 79054 w 81202"/>
                  <a:gd name="connsiteY8" fmla="*/ 2450 h 19385"/>
                  <a:gd name="connsiteX9" fmla="*/ 80128 w 81202"/>
                  <a:gd name="connsiteY9" fmla="*/ 9968 h 19385"/>
                  <a:gd name="connsiteX10" fmla="*/ 65377 w 81202"/>
                  <a:gd name="connsiteY10" fmla="*/ 18561 h 19385"/>
                  <a:gd name="connsiteX11" fmla="*/ 48514 w 81202"/>
                  <a:gd name="connsiteY11" fmla="*/ 12188 h 19385"/>
                  <a:gd name="connsiteX12" fmla="*/ 24096 w 81202"/>
                  <a:gd name="connsiteY12" fmla="*/ 19384 h 19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1202" h="19385">
                    <a:moveTo>
                      <a:pt x="24096" y="19384"/>
                    </a:moveTo>
                    <a:cubicBezTo>
                      <a:pt x="16111" y="19445"/>
                      <a:pt x="8344" y="16780"/>
                      <a:pt x="2078" y="11830"/>
                    </a:cubicBezTo>
                    <a:cubicBezTo>
                      <a:pt x="-266" y="10011"/>
                      <a:pt x="-690" y="6637"/>
                      <a:pt x="1129" y="4294"/>
                    </a:cubicBezTo>
                    <a:cubicBezTo>
                      <a:pt x="2948" y="1950"/>
                      <a:pt x="6322" y="1526"/>
                      <a:pt x="8665" y="3345"/>
                    </a:cubicBezTo>
                    <a:cubicBezTo>
                      <a:pt x="25278" y="16377"/>
                      <a:pt x="44969" y="1841"/>
                      <a:pt x="45793" y="1089"/>
                    </a:cubicBezTo>
                    <a:cubicBezTo>
                      <a:pt x="47984" y="-570"/>
                      <a:pt x="51074" y="-307"/>
                      <a:pt x="52953" y="1698"/>
                    </a:cubicBezTo>
                    <a:cubicBezTo>
                      <a:pt x="54600" y="3488"/>
                      <a:pt x="59935" y="8107"/>
                      <a:pt x="64876" y="7820"/>
                    </a:cubicBezTo>
                    <a:cubicBezTo>
                      <a:pt x="67636" y="7481"/>
                      <a:pt x="70089" y="5899"/>
                      <a:pt x="71535" y="3524"/>
                    </a:cubicBezTo>
                    <a:cubicBezTo>
                      <a:pt x="73315" y="1151"/>
                      <a:pt x="76681" y="670"/>
                      <a:pt x="79054" y="2450"/>
                    </a:cubicBezTo>
                    <a:cubicBezTo>
                      <a:pt x="81426" y="4229"/>
                      <a:pt x="81907" y="7596"/>
                      <a:pt x="80128" y="9968"/>
                    </a:cubicBezTo>
                    <a:cubicBezTo>
                      <a:pt x="76798" y="14953"/>
                      <a:pt x="71356" y="18124"/>
                      <a:pt x="65377" y="18561"/>
                    </a:cubicBezTo>
                    <a:cubicBezTo>
                      <a:pt x="59177" y="18507"/>
                      <a:pt x="53200" y="16248"/>
                      <a:pt x="48514" y="12188"/>
                    </a:cubicBezTo>
                    <a:cubicBezTo>
                      <a:pt x="41159" y="16714"/>
                      <a:pt x="32731" y="19199"/>
                      <a:pt x="24096" y="19384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44" name="Группа 243">
            <a:extLst>
              <a:ext uri="{FF2B5EF4-FFF2-40B4-BE49-F238E27FC236}">
                <a16:creationId xmlns:a16="http://schemas.microsoft.com/office/drawing/2014/main" id="{02009106-27A6-454F-BD66-4876545E2AF4}"/>
              </a:ext>
            </a:extLst>
          </p:cNvPr>
          <p:cNvGrpSpPr/>
          <p:nvPr/>
        </p:nvGrpSpPr>
        <p:grpSpPr>
          <a:xfrm>
            <a:off x="2973667" y="3489676"/>
            <a:ext cx="550305" cy="550305"/>
            <a:chOff x="1729142" y="2873137"/>
            <a:chExt cx="550305" cy="550305"/>
          </a:xfrm>
        </p:grpSpPr>
        <p:sp>
          <p:nvSpPr>
            <p:cNvPr id="245" name="Овал 244">
              <a:extLst>
                <a:ext uri="{FF2B5EF4-FFF2-40B4-BE49-F238E27FC236}">
                  <a16:creationId xmlns:a16="http://schemas.microsoft.com/office/drawing/2014/main" id="{48D5BFAD-1C73-4365-8A0A-9F05E0A2D542}"/>
                </a:ext>
              </a:extLst>
            </p:cNvPr>
            <p:cNvSpPr/>
            <p:nvPr/>
          </p:nvSpPr>
          <p:spPr>
            <a:xfrm>
              <a:off x="1729142" y="2873137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46" name="Группа 245">
              <a:extLst>
                <a:ext uri="{FF2B5EF4-FFF2-40B4-BE49-F238E27FC236}">
                  <a16:creationId xmlns:a16="http://schemas.microsoft.com/office/drawing/2014/main" id="{BBB32C02-4096-49B3-9CA0-2FB2201D6B12}"/>
                </a:ext>
              </a:extLst>
            </p:cNvPr>
            <p:cNvGrpSpPr/>
            <p:nvPr/>
          </p:nvGrpSpPr>
          <p:grpSpPr>
            <a:xfrm>
              <a:off x="1845329" y="2996127"/>
              <a:ext cx="325450" cy="300742"/>
              <a:chOff x="1845329" y="2996127"/>
              <a:chExt cx="325450" cy="300742"/>
            </a:xfrm>
          </p:grpSpPr>
          <p:sp>
            <p:nvSpPr>
              <p:cNvPr id="247" name="Рисунок 61">
                <a:extLst>
                  <a:ext uri="{FF2B5EF4-FFF2-40B4-BE49-F238E27FC236}">
                    <a16:creationId xmlns:a16="http://schemas.microsoft.com/office/drawing/2014/main" id="{B000E3CD-095C-4B2B-943A-9F3760CB3172}"/>
                  </a:ext>
                </a:extLst>
              </p:cNvPr>
              <p:cNvSpPr/>
              <p:nvPr/>
            </p:nvSpPr>
            <p:spPr>
              <a:xfrm>
                <a:off x="1845329" y="3130674"/>
                <a:ext cx="107050" cy="101751"/>
              </a:xfrm>
              <a:custGeom>
                <a:avLst/>
                <a:gdLst>
                  <a:gd name="connsiteX0" fmla="*/ 101680 w 107050"/>
                  <a:gd name="connsiteY0" fmla="*/ 101751 h 101751"/>
                  <a:gd name="connsiteX1" fmla="*/ 5370 w 107050"/>
                  <a:gd name="connsiteY1" fmla="*/ 101751 h 101751"/>
                  <a:gd name="connsiteX2" fmla="*/ 0 w 107050"/>
                  <a:gd name="connsiteY2" fmla="*/ 96381 h 101751"/>
                  <a:gd name="connsiteX3" fmla="*/ 94484 w 107050"/>
                  <a:gd name="connsiteY3" fmla="*/ 0 h 101751"/>
                  <a:gd name="connsiteX4" fmla="*/ 99854 w 107050"/>
                  <a:gd name="connsiteY4" fmla="*/ 5370 h 101751"/>
                  <a:gd name="connsiteX5" fmla="*/ 94484 w 107050"/>
                  <a:gd name="connsiteY5" fmla="*/ 10741 h 101751"/>
                  <a:gd name="connsiteX6" fmla="*/ 10884 w 107050"/>
                  <a:gd name="connsiteY6" fmla="*/ 91011 h 101751"/>
                  <a:gd name="connsiteX7" fmla="*/ 101680 w 107050"/>
                  <a:gd name="connsiteY7" fmla="*/ 91011 h 101751"/>
                  <a:gd name="connsiteX8" fmla="*/ 107050 w 107050"/>
                  <a:gd name="connsiteY8" fmla="*/ 96381 h 101751"/>
                  <a:gd name="connsiteX9" fmla="*/ 101680 w 107050"/>
                  <a:gd name="connsiteY9" fmla="*/ 101751 h 101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7050" h="101751">
                    <a:moveTo>
                      <a:pt x="101680" y="101751"/>
                    </a:moveTo>
                    <a:lnTo>
                      <a:pt x="5370" y="101751"/>
                    </a:lnTo>
                    <a:cubicBezTo>
                      <a:pt x="2404" y="101751"/>
                      <a:pt x="0" y="99347"/>
                      <a:pt x="0" y="96381"/>
                    </a:cubicBezTo>
                    <a:cubicBezTo>
                      <a:pt x="0" y="43250"/>
                      <a:pt x="42390" y="0"/>
                      <a:pt x="94484" y="0"/>
                    </a:cubicBezTo>
                    <a:cubicBezTo>
                      <a:pt x="97449" y="0"/>
                      <a:pt x="99854" y="2405"/>
                      <a:pt x="99854" y="5370"/>
                    </a:cubicBezTo>
                    <a:cubicBezTo>
                      <a:pt x="99854" y="8336"/>
                      <a:pt x="97449" y="10741"/>
                      <a:pt x="94484" y="10741"/>
                    </a:cubicBezTo>
                    <a:cubicBezTo>
                      <a:pt x="49802" y="11247"/>
                      <a:pt x="13205" y="46387"/>
                      <a:pt x="10884" y="91011"/>
                    </a:cubicBezTo>
                    <a:lnTo>
                      <a:pt x="101680" y="91011"/>
                    </a:lnTo>
                    <a:cubicBezTo>
                      <a:pt x="104646" y="91011"/>
                      <a:pt x="107050" y="93415"/>
                      <a:pt x="107050" y="96381"/>
                    </a:cubicBezTo>
                    <a:cubicBezTo>
                      <a:pt x="107050" y="99347"/>
                      <a:pt x="104646" y="101751"/>
                      <a:pt x="101680" y="10175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8" name="Рисунок 61">
                <a:extLst>
                  <a:ext uri="{FF2B5EF4-FFF2-40B4-BE49-F238E27FC236}">
                    <a16:creationId xmlns:a16="http://schemas.microsoft.com/office/drawing/2014/main" id="{D8A8FCEB-F729-41C4-BF07-9EFE69D4DF54}"/>
                  </a:ext>
                </a:extLst>
              </p:cNvPr>
              <p:cNvSpPr/>
              <p:nvPr/>
            </p:nvSpPr>
            <p:spPr>
              <a:xfrm>
                <a:off x="1880774" y="2996127"/>
                <a:ext cx="118149" cy="118149"/>
              </a:xfrm>
              <a:custGeom>
                <a:avLst/>
                <a:gdLst>
                  <a:gd name="connsiteX0" fmla="*/ 59075 w 118149"/>
                  <a:gd name="connsiteY0" fmla="*/ 118149 h 118149"/>
                  <a:gd name="connsiteX1" fmla="*/ 0 w 118149"/>
                  <a:gd name="connsiteY1" fmla="*/ 59075 h 118149"/>
                  <a:gd name="connsiteX2" fmla="*/ 59075 w 118149"/>
                  <a:gd name="connsiteY2" fmla="*/ 0 h 118149"/>
                  <a:gd name="connsiteX3" fmla="*/ 118149 w 118149"/>
                  <a:gd name="connsiteY3" fmla="*/ 59075 h 118149"/>
                  <a:gd name="connsiteX4" fmla="*/ 59075 w 118149"/>
                  <a:gd name="connsiteY4" fmla="*/ 118149 h 118149"/>
                  <a:gd name="connsiteX5" fmla="*/ 59075 w 118149"/>
                  <a:gd name="connsiteY5" fmla="*/ 10741 h 118149"/>
                  <a:gd name="connsiteX6" fmla="*/ 10741 w 118149"/>
                  <a:gd name="connsiteY6" fmla="*/ 59075 h 118149"/>
                  <a:gd name="connsiteX7" fmla="*/ 59075 w 118149"/>
                  <a:gd name="connsiteY7" fmla="*/ 107408 h 118149"/>
                  <a:gd name="connsiteX8" fmla="*/ 107408 w 118149"/>
                  <a:gd name="connsiteY8" fmla="*/ 59075 h 118149"/>
                  <a:gd name="connsiteX9" fmla="*/ 59075 w 118149"/>
                  <a:gd name="connsiteY9" fmla="*/ 10741 h 118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8149" h="118149">
                    <a:moveTo>
                      <a:pt x="59075" y="118149"/>
                    </a:moveTo>
                    <a:cubicBezTo>
                      <a:pt x="26449" y="118149"/>
                      <a:pt x="0" y="91701"/>
                      <a:pt x="0" y="59075"/>
                    </a:cubicBezTo>
                    <a:cubicBezTo>
                      <a:pt x="0" y="26449"/>
                      <a:pt x="26449" y="0"/>
                      <a:pt x="59075" y="0"/>
                    </a:cubicBezTo>
                    <a:cubicBezTo>
                      <a:pt x="91701" y="0"/>
                      <a:pt x="118149" y="26449"/>
                      <a:pt x="118149" y="59075"/>
                    </a:cubicBezTo>
                    <a:cubicBezTo>
                      <a:pt x="118110" y="91684"/>
                      <a:pt x="91684" y="118110"/>
                      <a:pt x="59075" y="118149"/>
                    </a:cubicBezTo>
                    <a:close/>
                    <a:moveTo>
                      <a:pt x="59075" y="10741"/>
                    </a:moveTo>
                    <a:cubicBezTo>
                      <a:pt x="32381" y="10741"/>
                      <a:pt x="10741" y="32381"/>
                      <a:pt x="10741" y="59075"/>
                    </a:cubicBezTo>
                    <a:cubicBezTo>
                      <a:pt x="10741" y="85768"/>
                      <a:pt x="32381" y="107408"/>
                      <a:pt x="59075" y="107408"/>
                    </a:cubicBezTo>
                    <a:cubicBezTo>
                      <a:pt x="85768" y="107408"/>
                      <a:pt x="107408" y="85768"/>
                      <a:pt x="107408" y="59075"/>
                    </a:cubicBezTo>
                    <a:cubicBezTo>
                      <a:pt x="107369" y="32397"/>
                      <a:pt x="85752" y="10780"/>
                      <a:pt x="59075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9" name="Рисунок 61">
                <a:extLst>
                  <a:ext uri="{FF2B5EF4-FFF2-40B4-BE49-F238E27FC236}">
                    <a16:creationId xmlns:a16="http://schemas.microsoft.com/office/drawing/2014/main" id="{D46EC87A-0165-4D0E-BFEC-34D3E6D3A27F}"/>
                  </a:ext>
                </a:extLst>
              </p:cNvPr>
              <p:cNvSpPr/>
              <p:nvPr/>
            </p:nvSpPr>
            <p:spPr>
              <a:xfrm>
                <a:off x="1883312" y="3150469"/>
                <a:ext cx="61942" cy="24922"/>
              </a:xfrm>
              <a:custGeom>
                <a:avLst/>
                <a:gdLst>
                  <a:gd name="connsiteX0" fmla="*/ 56465 w 61942"/>
                  <a:gd name="connsiteY0" fmla="*/ 24922 h 24922"/>
                  <a:gd name="connsiteX1" fmla="*/ 2581 w 61942"/>
                  <a:gd name="connsiteY1" fmla="*/ 9993 h 24922"/>
                  <a:gd name="connsiteX2" fmla="*/ 791 w 61942"/>
                  <a:gd name="connsiteY2" fmla="*/ 2581 h 24922"/>
                  <a:gd name="connsiteX3" fmla="*/ 8202 w 61942"/>
                  <a:gd name="connsiteY3" fmla="*/ 791 h 24922"/>
                  <a:gd name="connsiteX4" fmla="*/ 56572 w 61942"/>
                  <a:gd name="connsiteY4" fmla="*/ 14181 h 24922"/>
                  <a:gd name="connsiteX5" fmla="*/ 61942 w 61942"/>
                  <a:gd name="connsiteY5" fmla="*/ 19552 h 24922"/>
                  <a:gd name="connsiteX6" fmla="*/ 56572 w 61942"/>
                  <a:gd name="connsiteY6" fmla="*/ 24922 h 249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1942" h="24922">
                    <a:moveTo>
                      <a:pt x="56465" y="24922"/>
                    </a:moveTo>
                    <a:cubicBezTo>
                      <a:pt x="37481" y="24936"/>
                      <a:pt x="18852" y="19774"/>
                      <a:pt x="2581" y="9993"/>
                    </a:cubicBezTo>
                    <a:cubicBezTo>
                      <a:pt x="40" y="8441"/>
                      <a:pt x="-761" y="5122"/>
                      <a:pt x="791" y="2581"/>
                    </a:cubicBezTo>
                    <a:cubicBezTo>
                      <a:pt x="2343" y="40"/>
                      <a:pt x="5662" y="-761"/>
                      <a:pt x="8202" y="791"/>
                    </a:cubicBezTo>
                    <a:cubicBezTo>
                      <a:pt x="22808" y="9570"/>
                      <a:pt x="39531" y="14200"/>
                      <a:pt x="56572" y="14181"/>
                    </a:cubicBezTo>
                    <a:cubicBezTo>
                      <a:pt x="59538" y="14181"/>
                      <a:pt x="61942" y="16586"/>
                      <a:pt x="61942" y="19552"/>
                    </a:cubicBezTo>
                    <a:cubicBezTo>
                      <a:pt x="61942" y="22518"/>
                      <a:pt x="59538" y="24922"/>
                      <a:pt x="56572" y="24922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0" name="Рисунок 61">
                <a:extLst>
                  <a:ext uri="{FF2B5EF4-FFF2-40B4-BE49-F238E27FC236}">
                    <a16:creationId xmlns:a16="http://schemas.microsoft.com/office/drawing/2014/main" id="{280BCD9A-DA24-4651-B9C4-2703E91401F0}"/>
                  </a:ext>
                </a:extLst>
              </p:cNvPr>
              <p:cNvSpPr/>
              <p:nvPr/>
            </p:nvSpPr>
            <p:spPr>
              <a:xfrm>
                <a:off x="1887790" y="3023190"/>
                <a:ext cx="103936" cy="24600"/>
              </a:xfrm>
              <a:custGeom>
                <a:avLst/>
                <a:gdLst>
                  <a:gd name="connsiteX0" fmla="*/ 98566 w 103936"/>
                  <a:gd name="connsiteY0" fmla="*/ 24421 h 24600"/>
                  <a:gd name="connsiteX1" fmla="*/ 67489 w 103936"/>
                  <a:gd name="connsiteY1" fmla="*/ 12320 h 24600"/>
                  <a:gd name="connsiteX2" fmla="*/ 2078 w 103936"/>
                  <a:gd name="connsiteY2" fmla="*/ 12642 h 24600"/>
                  <a:gd name="connsiteX3" fmla="*/ 1129 w 103936"/>
                  <a:gd name="connsiteY3" fmla="*/ 5106 h 24600"/>
                  <a:gd name="connsiteX4" fmla="*/ 8665 w 103936"/>
                  <a:gd name="connsiteY4" fmla="*/ 4157 h 24600"/>
                  <a:gd name="connsiteX5" fmla="*/ 65699 w 103936"/>
                  <a:gd name="connsiteY5" fmla="*/ 899 h 24600"/>
                  <a:gd name="connsiteX6" fmla="*/ 73145 w 103936"/>
                  <a:gd name="connsiteY6" fmla="*/ 2397 h 24600"/>
                  <a:gd name="connsiteX7" fmla="*/ 73218 w 103936"/>
                  <a:gd name="connsiteY7" fmla="*/ 2510 h 24600"/>
                  <a:gd name="connsiteX8" fmla="*/ 98566 w 103936"/>
                  <a:gd name="connsiteY8" fmla="*/ 13860 h 24600"/>
                  <a:gd name="connsiteX9" fmla="*/ 103936 w 103936"/>
                  <a:gd name="connsiteY9" fmla="*/ 19230 h 24600"/>
                  <a:gd name="connsiteX10" fmla="*/ 98566 w 103936"/>
                  <a:gd name="connsiteY10" fmla="*/ 24600 h 24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3936" h="24600">
                    <a:moveTo>
                      <a:pt x="98566" y="24421"/>
                    </a:moveTo>
                    <a:cubicBezTo>
                      <a:pt x="86989" y="24803"/>
                      <a:pt x="75760" y="20430"/>
                      <a:pt x="67489" y="12320"/>
                    </a:cubicBezTo>
                    <a:cubicBezTo>
                      <a:pt x="56748" y="18335"/>
                      <a:pt x="26531" y="31654"/>
                      <a:pt x="2078" y="12642"/>
                    </a:cubicBezTo>
                    <a:cubicBezTo>
                      <a:pt x="-266" y="10823"/>
                      <a:pt x="-690" y="7449"/>
                      <a:pt x="1129" y="5106"/>
                    </a:cubicBezTo>
                    <a:cubicBezTo>
                      <a:pt x="2948" y="2762"/>
                      <a:pt x="6322" y="2338"/>
                      <a:pt x="8665" y="4157"/>
                    </a:cubicBezTo>
                    <a:cubicBezTo>
                      <a:pt x="32367" y="22595"/>
                      <a:pt x="65377" y="1114"/>
                      <a:pt x="65699" y="899"/>
                    </a:cubicBezTo>
                    <a:cubicBezTo>
                      <a:pt x="68169" y="-743"/>
                      <a:pt x="71502" y="-72"/>
                      <a:pt x="73145" y="2397"/>
                    </a:cubicBezTo>
                    <a:cubicBezTo>
                      <a:pt x="73170" y="2435"/>
                      <a:pt x="73194" y="2472"/>
                      <a:pt x="73218" y="2510"/>
                    </a:cubicBezTo>
                    <a:cubicBezTo>
                      <a:pt x="73504" y="2940"/>
                      <a:pt x="80915" y="13860"/>
                      <a:pt x="98566" y="13860"/>
                    </a:cubicBezTo>
                    <a:cubicBezTo>
                      <a:pt x="101532" y="13860"/>
                      <a:pt x="103936" y="16264"/>
                      <a:pt x="103936" y="19230"/>
                    </a:cubicBezTo>
                    <a:cubicBezTo>
                      <a:pt x="103936" y="22196"/>
                      <a:pt x="101532" y="24600"/>
                      <a:pt x="98566" y="24600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1" name="Рисунок 61">
                <a:extLst>
                  <a:ext uri="{FF2B5EF4-FFF2-40B4-BE49-F238E27FC236}">
                    <a16:creationId xmlns:a16="http://schemas.microsoft.com/office/drawing/2014/main" id="{9D9ED747-59DB-48FE-9360-F0F3E838E15D}"/>
                  </a:ext>
                </a:extLst>
              </p:cNvPr>
              <p:cNvSpPr/>
              <p:nvPr/>
            </p:nvSpPr>
            <p:spPr>
              <a:xfrm>
                <a:off x="2060247" y="3118286"/>
                <a:ext cx="110532" cy="74756"/>
              </a:xfrm>
              <a:custGeom>
                <a:avLst/>
                <a:gdLst>
                  <a:gd name="connsiteX0" fmla="*/ 105159 w 110532"/>
                  <a:gd name="connsiteY0" fmla="*/ 74756 h 74756"/>
                  <a:gd name="connsiteX1" fmla="*/ 8492 w 110532"/>
                  <a:gd name="connsiteY1" fmla="*/ 74756 h 74756"/>
                  <a:gd name="connsiteX2" fmla="*/ 3121 w 110532"/>
                  <a:gd name="connsiteY2" fmla="*/ 69386 h 74756"/>
                  <a:gd name="connsiteX3" fmla="*/ 8492 w 110532"/>
                  <a:gd name="connsiteY3" fmla="*/ 64016 h 74756"/>
                  <a:gd name="connsiteX4" fmla="*/ 99538 w 110532"/>
                  <a:gd name="connsiteY4" fmla="*/ 64016 h 74756"/>
                  <a:gd name="connsiteX5" fmla="*/ 42504 w 110532"/>
                  <a:gd name="connsiteY5" fmla="*/ 10741 h 74756"/>
                  <a:gd name="connsiteX6" fmla="*/ 8456 w 110532"/>
                  <a:gd name="connsiteY6" fmla="*/ 22198 h 74756"/>
                  <a:gd name="connsiteX7" fmla="*/ 975 w 110532"/>
                  <a:gd name="connsiteY7" fmla="*/ 20887 h 74756"/>
                  <a:gd name="connsiteX8" fmla="*/ 1975 w 110532"/>
                  <a:gd name="connsiteY8" fmla="*/ 13641 h 74756"/>
                  <a:gd name="connsiteX9" fmla="*/ 42504 w 110532"/>
                  <a:gd name="connsiteY9" fmla="*/ 0 h 74756"/>
                  <a:gd name="connsiteX10" fmla="*/ 110529 w 110532"/>
                  <a:gd name="connsiteY10" fmla="*/ 69386 h 74756"/>
                  <a:gd name="connsiteX11" fmla="*/ 105159 w 110532"/>
                  <a:gd name="connsiteY11" fmla="*/ 74756 h 74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0532" h="74756">
                    <a:moveTo>
                      <a:pt x="105159" y="74756"/>
                    </a:moveTo>
                    <a:lnTo>
                      <a:pt x="8492" y="74756"/>
                    </a:lnTo>
                    <a:cubicBezTo>
                      <a:pt x="5526" y="74756"/>
                      <a:pt x="3121" y="72352"/>
                      <a:pt x="3121" y="69386"/>
                    </a:cubicBezTo>
                    <a:cubicBezTo>
                      <a:pt x="3121" y="66420"/>
                      <a:pt x="5526" y="64016"/>
                      <a:pt x="8492" y="64016"/>
                    </a:cubicBezTo>
                    <a:lnTo>
                      <a:pt x="99538" y="64016"/>
                    </a:lnTo>
                    <a:cubicBezTo>
                      <a:pt x="97153" y="34186"/>
                      <a:pt x="72427" y="11090"/>
                      <a:pt x="42504" y="10741"/>
                    </a:cubicBezTo>
                    <a:cubicBezTo>
                      <a:pt x="30204" y="10714"/>
                      <a:pt x="18238" y="14741"/>
                      <a:pt x="8456" y="22198"/>
                    </a:cubicBezTo>
                    <a:cubicBezTo>
                      <a:pt x="6028" y="23902"/>
                      <a:pt x="2679" y="23315"/>
                      <a:pt x="975" y="20887"/>
                    </a:cubicBezTo>
                    <a:cubicBezTo>
                      <a:pt x="-642" y="18583"/>
                      <a:pt x="-206" y="15421"/>
                      <a:pt x="1975" y="13641"/>
                    </a:cubicBezTo>
                    <a:cubicBezTo>
                      <a:pt x="13618" y="4762"/>
                      <a:pt x="27862" y="-32"/>
                      <a:pt x="42504" y="0"/>
                    </a:cubicBezTo>
                    <a:cubicBezTo>
                      <a:pt x="80433" y="413"/>
                      <a:pt x="110867" y="31456"/>
                      <a:pt x="110529" y="69386"/>
                    </a:cubicBezTo>
                    <a:cubicBezTo>
                      <a:pt x="110529" y="72352"/>
                      <a:pt x="108125" y="74756"/>
                      <a:pt x="105159" y="74756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2" name="Рисунок 61">
                <a:extLst>
                  <a:ext uri="{FF2B5EF4-FFF2-40B4-BE49-F238E27FC236}">
                    <a16:creationId xmlns:a16="http://schemas.microsoft.com/office/drawing/2014/main" id="{EE01DCE1-A935-446C-84CA-A7274F7BA749}"/>
                  </a:ext>
                </a:extLst>
              </p:cNvPr>
              <p:cNvSpPr/>
              <p:nvPr/>
            </p:nvSpPr>
            <p:spPr>
              <a:xfrm>
                <a:off x="2056208" y="3014028"/>
                <a:ext cx="93087" cy="93087"/>
              </a:xfrm>
              <a:custGeom>
                <a:avLst/>
                <a:gdLst>
                  <a:gd name="connsiteX0" fmla="*/ 46544 w 93087"/>
                  <a:gd name="connsiteY0" fmla="*/ 93087 h 93087"/>
                  <a:gd name="connsiteX1" fmla="*/ 0 w 93087"/>
                  <a:gd name="connsiteY1" fmla="*/ 46544 h 93087"/>
                  <a:gd name="connsiteX2" fmla="*/ 46544 w 93087"/>
                  <a:gd name="connsiteY2" fmla="*/ 0 h 93087"/>
                  <a:gd name="connsiteX3" fmla="*/ 93087 w 93087"/>
                  <a:gd name="connsiteY3" fmla="*/ 46544 h 93087"/>
                  <a:gd name="connsiteX4" fmla="*/ 46544 w 93087"/>
                  <a:gd name="connsiteY4" fmla="*/ 93087 h 93087"/>
                  <a:gd name="connsiteX5" fmla="*/ 46544 w 93087"/>
                  <a:gd name="connsiteY5" fmla="*/ 10741 h 93087"/>
                  <a:gd name="connsiteX6" fmla="*/ 10741 w 93087"/>
                  <a:gd name="connsiteY6" fmla="*/ 46544 h 93087"/>
                  <a:gd name="connsiteX7" fmla="*/ 46544 w 93087"/>
                  <a:gd name="connsiteY7" fmla="*/ 82346 h 93087"/>
                  <a:gd name="connsiteX8" fmla="*/ 82346 w 93087"/>
                  <a:gd name="connsiteY8" fmla="*/ 46544 h 93087"/>
                  <a:gd name="connsiteX9" fmla="*/ 46544 w 93087"/>
                  <a:gd name="connsiteY9" fmla="*/ 10741 h 93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087" h="93087">
                    <a:moveTo>
                      <a:pt x="46544" y="93087"/>
                    </a:moveTo>
                    <a:cubicBezTo>
                      <a:pt x="20838" y="93087"/>
                      <a:pt x="0" y="72249"/>
                      <a:pt x="0" y="46544"/>
                    </a:cubicBezTo>
                    <a:cubicBezTo>
                      <a:pt x="0" y="20838"/>
                      <a:pt x="20838" y="0"/>
                      <a:pt x="46544" y="0"/>
                    </a:cubicBezTo>
                    <a:cubicBezTo>
                      <a:pt x="72249" y="0"/>
                      <a:pt x="93087" y="20838"/>
                      <a:pt x="93087" y="46544"/>
                    </a:cubicBezTo>
                    <a:cubicBezTo>
                      <a:pt x="93087" y="72249"/>
                      <a:pt x="72249" y="93087"/>
                      <a:pt x="46544" y="93087"/>
                    </a:cubicBezTo>
                    <a:close/>
                    <a:moveTo>
                      <a:pt x="46544" y="10741"/>
                    </a:moveTo>
                    <a:cubicBezTo>
                      <a:pt x="26770" y="10741"/>
                      <a:pt x="10741" y="26770"/>
                      <a:pt x="10741" y="46544"/>
                    </a:cubicBezTo>
                    <a:cubicBezTo>
                      <a:pt x="10741" y="66317"/>
                      <a:pt x="26770" y="82346"/>
                      <a:pt x="46544" y="82346"/>
                    </a:cubicBezTo>
                    <a:cubicBezTo>
                      <a:pt x="66317" y="82346"/>
                      <a:pt x="82346" y="66317"/>
                      <a:pt x="82346" y="46544"/>
                    </a:cubicBezTo>
                    <a:cubicBezTo>
                      <a:pt x="82346" y="26770"/>
                      <a:pt x="66317" y="10741"/>
                      <a:pt x="46544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3" name="Рисунок 61">
                <a:extLst>
                  <a:ext uri="{FF2B5EF4-FFF2-40B4-BE49-F238E27FC236}">
                    <a16:creationId xmlns:a16="http://schemas.microsoft.com/office/drawing/2014/main" id="{B1AB6DF4-8E44-45B9-A033-33D7C2357650}"/>
                  </a:ext>
                </a:extLst>
              </p:cNvPr>
              <p:cNvSpPr/>
              <p:nvPr/>
            </p:nvSpPr>
            <p:spPr>
              <a:xfrm>
                <a:off x="2084792" y="3019985"/>
                <a:ext cx="64524" cy="45600"/>
              </a:xfrm>
              <a:custGeom>
                <a:avLst/>
                <a:gdLst>
                  <a:gd name="connsiteX0" fmla="*/ 45671 w 64524"/>
                  <a:gd name="connsiteY0" fmla="*/ 45599 h 45600"/>
                  <a:gd name="connsiteX1" fmla="*/ 58 w 64524"/>
                  <a:gd name="connsiteY1" fmla="*/ 6216 h 45600"/>
                  <a:gd name="connsiteX2" fmla="*/ 4641 w 64524"/>
                  <a:gd name="connsiteY2" fmla="*/ 58 h 45600"/>
                  <a:gd name="connsiteX3" fmla="*/ 10799 w 64524"/>
                  <a:gd name="connsiteY3" fmla="*/ 4641 h 45600"/>
                  <a:gd name="connsiteX4" fmla="*/ 51225 w 64524"/>
                  <a:gd name="connsiteY4" fmla="*/ 34450 h 45600"/>
                  <a:gd name="connsiteX5" fmla="*/ 57343 w 64524"/>
                  <a:gd name="connsiteY5" fmla="*/ 32961 h 45600"/>
                  <a:gd name="connsiteX6" fmla="*/ 64217 w 64524"/>
                  <a:gd name="connsiteY6" fmla="*/ 36255 h 45600"/>
                  <a:gd name="connsiteX7" fmla="*/ 60923 w 64524"/>
                  <a:gd name="connsiteY7" fmla="*/ 43129 h 45600"/>
                  <a:gd name="connsiteX8" fmla="*/ 45671 w 64524"/>
                  <a:gd name="connsiteY8" fmla="*/ 45599 h 45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524" h="45600">
                    <a:moveTo>
                      <a:pt x="45671" y="45599"/>
                    </a:moveTo>
                    <a:cubicBezTo>
                      <a:pt x="22873" y="45415"/>
                      <a:pt x="3565" y="28743"/>
                      <a:pt x="58" y="6216"/>
                    </a:cubicBezTo>
                    <a:cubicBezTo>
                      <a:pt x="-377" y="3250"/>
                      <a:pt x="1675" y="493"/>
                      <a:pt x="4641" y="58"/>
                    </a:cubicBezTo>
                    <a:cubicBezTo>
                      <a:pt x="7607" y="-377"/>
                      <a:pt x="10364" y="1675"/>
                      <a:pt x="10799" y="4641"/>
                    </a:cubicBezTo>
                    <a:cubicBezTo>
                      <a:pt x="13731" y="24036"/>
                      <a:pt x="31830" y="37382"/>
                      <a:pt x="51225" y="34450"/>
                    </a:cubicBezTo>
                    <a:cubicBezTo>
                      <a:pt x="53304" y="34136"/>
                      <a:pt x="55351" y="33638"/>
                      <a:pt x="57343" y="32961"/>
                    </a:cubicBezTo>
                    <a:cubicBezTo>
                      <a:pt x="60150" y="31972"/>
                      <a:pt x="63228" y="33447"/>
                      <a:pt x="64217" y="36255"/>
                    </a:cubicBezTo>
                    <a:cubicBezTo>
                      <a:pt x="65205" y="39062"/>
                      <a:pt x="63731" y="42140"/>
                      <a:pt x="60923" y="43129"/>
                    </a:cubicBezTo>
                    <a:cubicBezTo>
                      <a:pt x="56014" y="44804"/>
                      <a:pt x="50858" y="45639"/>
                      <a:pt x="45671" y="45599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4" name="Рисунок 61">
                <a:extLst>
                  <a:ext uri="{FF2B5EF4-FFF2-40B4-BE49-F238E27FC236}">
                    <a16:creationId xmlns:a16="http://schemas.microsoft.com/office/drawing/2014/main" id="{6EAD5B8D-CEED-4362-8250-BF99F8E77BBD}"/>
                  </a:ext>
                </a:extLst>
              </p:cNvPr>
              <p:cNvSpPr/>
              <p:nvPr/>
            </p:nvSpPr>
            <p:spPr>
              <a:xfrm>
                <a:off x="2138554" y="3056991"/>
                <a:ext cx="28939" cy="96667"/>
              </a:xfrm>
              <a:custGeom>
                <a:avLst/>
                <a:gdLst>
                  <a:gd name="connsiteX0" fmla="*/ 16111 w 28939"/>
                  <a:gd name="connsiteY0" fmla="*/ 96667 h 96667"/>
                  <a:gd name="connsiteX1" fmla="*/ 10741 w 28939"/>
                  <a:gd name="connsiteY1" fmla="*/ 91297 h 96667"/>
                  <a:gd name="connsiteX2" fmla="*/ 11815 w 28939"/>
                  <a:gd name="connsiteY2" fmla="*/ 88075 h 96667"/>
                  <a:gd name="connsiteX3" fmla="*/ 9846 w 28939"/>
                  <a:gd name="connsiteY3" fmla="*/ 41531 h 96667"/>
                  <a:gd name="connsiteX4" fmla="*/ 0 w 28939"/>
                  <a:gd name="connsiteY4" fmla="*/ 5370 h 96667"/>
                  <a:gd name="connsiteX5" fmla="*/ 5370 w 28939"/>
                  <a:gd name="connsiteY5" fmla="*/ 0 h 96667"/>
                  <a:gd name="connsiteX6" fmla="*/ 10741 w 28939"/>
                  <a:gd name="connsiteY6" fmla="*/ 5370 h 96667"/>
                  <a:gd name="connsiteX7" fmla="*/ 19727 w 28939"/>
                  <a:gd name="connsiteY7" fmla="*/ 37271 h 96667"/>
                  <a:gd name="connsiteX8" fmla="*/ 20408 w 28939"/>
                  <a:gd name="connsiteY8" fmla="*/ 94555 h 96667"/>
                  <a:gd name="connsiteX9" fmla="*/ 16111 w 28939"/>
                  <a:gd name="connsiteY9" fmla="*/ 96667 h 96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939" h="96667">
                    <a:moveTo>
                      <a:pt x="16111" y="96667"/>
                    </a:moveTo>
                    <a:cubicBezTo>
                      <a:pt x="13145" y="96667"/>
                      <a:pt x="10741" y="94263"/>
                      <a:pt x="10741" y="91297"/>
                    </a:cubicBezTo>
                    <a:cubicBezTo>
                      <a:pt x="10741" y="90135"/>
                      <a:pt x="11118" y="89004"/>
                      <a:pt x="11815" y="88075"/>
                    </a:cubicBezTo>
                    <a:cubicBezTo>
                      <a:pt x="23200" y="72930"/>
                      <a:pt x="17006" y="58323"/>
                      <a:pt x="9846" y="41531"/>
                    </a:cubicBezTo>
                    <a:cubicBezTo>
                      <a:pt x="5012" y="30074"/>
                      <a:pt x="0" y="18331"/>
                      <a:pt x="0" y="5370"/>
                    </a:cubicBezTo>
                    <a:cubicBezTo>
                      <a:pt x="0" y="2405"/>
                      <a:pt x="2405" y="0"/>
                      <a:pt x="5370" y="0"/>
                    </a:cubicBezTo>
                    <a:cubicBezTo>
                      <a:pt x="8336" y="0"/>
                      <a:pt x="10741" y="2405"/>
                      <a:pt x="10741" y="5370"/>
                    </a:cubicBezTo>
                    <a:cubicBezTo>
                      <a:pt x="10741" y="16111"/>
                      <a:pt x="15288" y="26852"/>
                      <a:pt x="19727" y="37271"/>
                    </a:cubicBezTo>
                    <a:cubicBezTo>
                      <a:pt x="27497" y="55530"/>
                      <a:pt x="35516" y="74398"/>
                      <a:pt x="20408" y="94555"/>
                    </a:cubicBezTo>
                    <a:cubicBezTo>
                      <a:pt x="19386" y="95894"/>
                      <a:pt x="17795" y="96676"/>
                      <a:pt x="16111" y="96667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5" name="Рисунок 61">
                <a:extLst>
                  <a:ext uri="{FF2B5EF4-FFF2-40B4-BE49-F238E27FC236}">
                    <a16:creationId xmlns:a16="http://schemas.microsoft.com/office/drawing/2014/main" id="{5EB3BEF0-2A04-4359-AB7A-8EF96A4314BE}"/>
                  </a:ext>
                </a:extLst>
              </p:cNvPr>
              <p:cNvSpPr/>
              <p:nvPr/>
            </p:nvSpPr>
            <p:spPr>
              <a:xfrm>
                <a:off x="2040752" y="3057135"/>
                <a:ext cx="26268" cy="60327"/>
              </a:xfrm>
              <a:custGeom>
                <a:avLst/>
                <a:gdLst>
                  <a:gd name="connsiteX0" fmla="*/ 5503 w 26268"/>
                  <a:gd name="connsiteY0" fmla="*/ 60328 h 60327"/>
                  <a:gd name="connsiteX1" fmla="*/ 3820 w 26268"/>
                  <a:gd name="connsiteY1" fmla="*/ 60041 h 60327"/>
                  <a:gd name="connsiteX2" fmla="*/ 212 w 26268"/>
                  <a:gd name="connsiteY2" fmla="*/ 53473 h 60327"/>
                  <a:gd name="connsiteX3" fmla="*/ 240 w 26268"/>
                  <a:gd name="connsiteY3" fmla="*/ 53382 h 60327"/>
                  <a:gd name="connsiteX4" fmla="*/ 1744 w 26268"/>
                  <a:gd name="connsiteY4" fmla="*/ 49802 h 60327"/>
                  <a:gd name="connsiteX5" fmla="*/ 15528 w 26268"/>
                  <a:gd name="connsiteY5" fmla="*/ 5370 h 60327"/>
                  <a:gd name="connsiteX6" fmla="*/ 20898 w 26268"/>
                  <a:gd name="connsiteY6" fmla="*/ 0 h 60327"/>
                  <a:gd name="connsiteX7" fmla="*/ 26268 w 26268"/>
                  <a:gd name="connsiteY7" fmla="*/ 5370 h 60327"/>
                  <a:gd name="connsiteX8" fmla="*/ 11661 w 26268"/>
                  <a:gd name="connsiteY8" fmla="*/ 53955 h 60327"/>
                  <a:gd name="connsiteX9" fmla="*/ 10479 w 26268"/>
                  <a:gd name="connsiteY9" fmla="*/ 56819 h 60327"/>
                  <a:gd name="connsiteX10" fmla="*/ 5503 w 26268"/>
                  <a:gd name="connsiteY10" fmla="*/ 60328 h 60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268" h="60327">
                    <a:moveTo>
                      <a:pt x="5503" y="60328"/>
                    </a:moveTo>
                    <a:cubicBezTo>
                      <a:pt x="4930" y="60325"/>
                      <a:pt x="4361" y="60228"/>
                      <a:pt x="3820" y="60041"/>
                    </a:cubicBezTo>
                    <a:cubicBezTo>
                      <a:pt x="1010" y="59224"/>
                      <a:pt x="-605" y="56283"/>
                      <a:pt x="212" y="53473"/>
                    </a:cubicBezTo>
                    <a:cubicBezTo>
                      <a:pt x="221" y="53443"/>
                      <a:pt x="231" y="53412"/>
                      <a:pt x="240" y="53382"/>
                    </a:cubicBezTo>
                    <a:cubicBezTo>
                      <a:pt x="240" y="52952"/>
                      <a:pt x="920" y="51628"/>
                      <a:pt x="1744" y="49802"/>
                    </a:cubicBezTo>
                    <a:cubicBezTo>
                      <a:pt x="5324" y="41674"/>
                      <a:pt x="15528" y="16971"/>
                      <a:pt x="15528" y="5370"/>
                    </a:cubicBezTo>
                    <a:cubicBezTo>
                      <a:pt x="15528" y="2405"/>
                      <a:pt x="17932" y="0"/>
                      <a:pt x="20898" y="0"/>
                    </a:cubicBezTo>
                    <a:cubicBezTo>
                      <a:pt x="23864" y="0"/>
                      <a:pt x="26268" y="2405"/>
                      <a:pt x="26268" y="5370"/>
                    </a:cubicBezTo>
                    <a:cubicBezTo>
                      <a:pt x="26268" y="17687"/>
                      <a:pt x="17926" y="38989"/>
                      <a:pt x="11661" y="53955"/>
                    </a:cubicBezTo>
                    <a:cubicBezTo>
                      <a:pt x="11052" y="55423"/>
                      <a:pt x="10623" y="56425"/>
                      <a:pt x="10479" y="56819"/>
                    </a:cubicBezTo>
                    <a:cubicBezTo>
                      <a:pt x="9691" y="58894"/>
                      <a:pt x="7722" y="60283"/>
                      <a:pt x="5503" y="60328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6" name="Рисунок 61">
                <a:extLst>
                  <a:ext uri="{FF2B5EF4-FFF2-40B4-BE49-F238E27FC236}">
                    <a16:creationId xmlns:a16="http://schemas.microsoft.com/office/drawing/2014/main" id="{3E84D4B0-4755-4A28-B66E-111EEE2CFE3C}"/>
                  </a:ext>
                </a:extLst>
              </p:cNvPr>
              <p:cNvSpPr/>
              <p:nvPr/>
            </p:nvSpPr>
            <p:spPr>
              <a:xfrm>
                <a:off x="1938846" y="3223474"/>
                <a:ext cx="136050" cy="73395"/>
              </a:xfrm>
              <a:custGeom>
                <a:avLst/>
                <a:gdLst>
                  <a:gd name="connsiteX0" fmla="*/ 130680 w 136050"/>
                  <a:gd name="connsiteY0" fmla="*/ 73396 h 73395"/>
                  <a:gd name="connsiteX1" fmla="*/ 5370 w 136050"/>
                  <a:gd name="connsiteY1" fmla="*/ 73396 h 73395"/>
                  <a:gd name="connsiteX2" fmla="*/ 0 w 136050"/>
                  <a:gd name="connsiteY2" fmla="*/ 68025 h 73395"/>
                  <a:gd name="connsiteX3" fmla="*/ 68025 w 136050"/>
                  <a:gd name="connsiteY3" fmla="*/ 0 h 73395"/>
                  <a:gd name="connsiteX4" fmla="*/ 136051 w 136050"/>
                  <a:gd name="connsiteY4" fmla="*/ 68025 h 73395"/>
                  <a:gd name="connsiteX5" fmla="*/ 130680 w 136050"/>
                  <a:gd name="connsiteY5" fmla="*/ 73396 h 73395"/>
                  <a:gd name="connsiteX6" fmla="*/ 10956 w 136050"/>
                  <a:gd name="connsiteY6" fmla="*/ 62655 h 73395"/>
                  <a:gd name="connsiteX7" fmla="*/ 125059 w 136050"/>
                  <a:gd name="connsiteY7" fmla="*/ 62655 h 73395"/>
                  <a:gd name="connsiteX8" fmla="*/ 62849 w 136050"/>
                  <a:gd name="connsiteY8" fmla="*/ 10762 h 73395"/>
                  <a:gd name="connsiteX9" fmla="*/ 10956 w 136050"/>
                  <a:gd name="connsiteY9" fmla="*/ 62655 h 73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6050" h="73395">
                    <a:moveTo>
                      <a:pt x="130680" y="73396"/>
                    </a:moveTo>
                    <a:lnTo>
                      <a:pt x="5370" y="73396"/>
                    </a:lnTo>
                    <a:cubicBezTo>
                      <a:pt x="2405" y="73396"/>
                      <a:pt x="0" y="70991"/>
                      <a:pt x="0" y="68025"/>
                    </a:cubicBezTo>
                    <a:cubicBezTo>
                      <a:pt x="0" y="30456"/>
                      <a:pt x="30456" y="0"/>
                      <a:pt x="68025" y="0"/>
                    </a:cubicBezTo>
                    <a:cubicBezTo>
                      <a:pt x="105595" y="0"/>
                      <a:pt x="136051" y="30456"/>
                      <a:pt x="136051" y="68025"/>
                    </a:cubicBezTo>
                    <a:cubicBezTo>
                      <a:pt x="136051" y="70991"/>
                      <a:pt x="133646" y="73396"/>
                      <a:pt x="130680" y="73396"/>
                    </a:cubicBezTo>
                    <a:close/>
                    <a:moveTo>
                      <a:pt x="10956" y="62655"/>
                    </a:moveTo>
                    <a:lnTo>
                      <a:pt x="125059" y="62655"/>
                    </a:lnTo>
                    <a:cubicBezTo>
                      <a:pt x="122210" y="31146"/>
                      <a:pt x="94358" y="7912"/>
                      <a:pt x="62849" y="10762"/>
                    </a:cubicBezTo>
                    <a:cubicBezTo>
                      <a:pt x="35287" y="13253"/>
                      <a:pt x="13448" y="35093"/>
                      <a:pt x="10956" y="62655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7" name="Рисунок 61">
                <a:extLst>
                  <a:ext uri="{FF2B5EF4-FFF2-40B4-BE49-F238E27FC236}">
                    <a16:creationId xmlns:a16="http://schemas.microsoft.com/office/drawing/2014/main" id="{59C9E2DA-DBAF-4F86-97A6-82FAACE90BF3}"/>
                  </a:ext>
                </a:extLst>
              </p:cNvPr>
              <p:cNvSpPr/>
              <p:nvPr/>
            </p:nvSpPr>
            <p:spPr>
              <a:xfrm>
                <a:off x="1959540" y="3117856"/>
                <a:ext cx="93087" cy="93087"/>
              </a:xfrm>
              <a:custGeom>
                <a:avLst/>
                <a:gdLst>
                  <a:gd name="connsiteX0" fmla="*/ 46544 w 93087"/>
                  <a:gd name="connsiteY0" fmla="*/ 93087 h 93087"/>
                  <a:gd name="connsiteX1" fmla="*/ 0 w 93087"/>
                  <a:gd name="connsiteY1" fmla="*/ 46544 h 93087"/>
                  <a:gd name="connsiteX2" fmla="*/ 46544 w 93087"/>
                  <a:gd name="connsiteY2" fmla="*/ 0 h 93087"/>
                  <a:gd name="connsiteX3" fmla="*/ 93087 w 93087"/>
                  <a:gd name="connsiteY3" fmla="*/ 46544 h 93087"/>
                  <a:gd name="connsiteX4" fmla="*/ 46544 w 93087"/>
                  <a:gd name="connsiteY4" fmla="*/ 93087 h 93087"/>
                  <a:gd name="connsiteX5" fmla="*/ 46544 w 93087"/>
                  <a:gd name="connsiteY5" fmla="*/ 10741 h 93087"/>
                  <a:gd name="connsiteX6" fmla="*/ 10741 w 93087"/>
                  <a:gd name="connsiteY6" fmla="*/ 46544 h 93087"/>
                  <a:gd name="connsiteX7" fmla="*/ 46544 w 93087"/>
                  <a:gd name="connsiteY7" fmla="*/ 82346 h 93087"/>
                  <a:gd name="connsiteX8" fmla="*/ 82346 w 93087"/>
                  <a:gd name="connsiteY8" fmla="*/ 46544 h 93087"/>
                  <a:gd name="connsiteX9" fmla="*/ 46544 w 93087"/>
                  <a:gd name="connsiteY9" fmla="*/ 10741 h 93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087" h="93087">
                    <a:moveTo>
                      <a:pt x="46544" y="93087"/>
                    </a:moveTo>
                    <a:cubicBezTo>
                      <a:pt x="20838" y="93087"/>
                      <a:pt x="0" y="72249"/>
                      <a:pt x="0" y="46544"/>
                    </a:cubicBezTo>
                    <a:cubicBezTo>
                      <a:pt x="0" y="20838"/>
                      <a:pt x="20838" y="0"/>
                      <a:pt x="46544" y="0"/>
                    </a:cubicBezTo>
                    <a:cubicBezTo>
                      <a:pt x="72249" y="0"/>
                      <a:pt x="93087" y="20838"/>
                      <a:pt x="93087" y="46544"/>
                    </a:cubicBezTo>
                    <a:cubicBezTo>
                      <a:pt x="93087" y="72249"/>
                      <a:pt x="72249" y="93087"/>
                      <a:pt x="46544" y="93087"/>
                    </a:cubicBezTo>
                    <a:close/>
                    <a:moveTo>
                      <a:pt x="46544" y="10741"/>
                    </a:moveTo>
                    <a:cubicBezTo>
                      <a:pt x="26770" y="10741"/>
                      <a:pt x="10741" y="26770"/>
                      <a:pt x="10741" y="46544"/>
                    </a:cubicBezTo>
                    <a:cubicBezTo>
                      <a:pt x="10741" y="66317"/>
                      <a:pt x="26770" y="82346"/>
                      <a:pt x="46544" y="82346"/>
                    </a:cubicBezTo>
                    <a:cubicBezTo>
                      <a:pt x="66317" y="82346"/>
                      <a:pt x="82346" y="66317"/>
                      <a:pt x="82346" y="46544"/>
                    </a:cubicBezTo>
                    <a:cubicBezTo>
                      <a:pt x="82346" y="26770"/>
                      <a:pt x="66317" y="10741"/>
                      <a:pt x="46544" y="10741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8" name="Рисунок 61">
                <a:extLst>
                  <a:ext uri="{FF2B5EF4-FFF2-40B4-BE49-F238E27FC236}">
                    <a16:creationId xmlns:a16="http://schemas.microsoft.com/office/drawing/2014/main" id="{1B8414C8-3941-42E5-BDBB-59C05E0BD0DB}"/>
                  </a:ext>
                </a:extLst>
              </p:cNvPr>
              <p:cNvSpPr/>
              <p:nvPr/>
            </p:nvSpPr>
            <p:spPr>
              <a:xfrm>
                <a:off x="1964890" y="3238061"/>
                <a:ext cx="83784" cy="20715"/>
              </a:xfrm>
              <a:custGeom>
                <a:avLst/>
                <a:gdLst>
                  <a:gd name="connsiteX0" fmla="*/ 41982 w 83784"/>
                  <a:gd name="connsiteY0" fmla="*/ 20715 h 20715"/>
                  <a:gd name="connsiteX1" fmla="*/ 2599 w 83784"/>
                  <a:gd name="connsiteY1" fmla="*/ 9974 h 20715"/>
                  <a:gd name="connsiteX2" fmla="*/ 773 w 83784"/>
                  <a:gd name="connsiteY2" fmla="*/ 2599 h 20715"/>
                  <a:gd name="connsiteX3" fmla="*/ 8148 w 83784"/>
                  <a:gd name="connsiteY3" fmla="*/ 773 h 20715"/>
                  <a:gd name="connsiteX4" fmla="*/ 75636 w 83784"/>
                  <a:gd name="connsiteY4" fmla="*/ 773 h 20715"/>
                  <a:gd name="connsiteX5" fmla="*/ 83012 w 83784"/>
                  <a:gd name="connsiteY5" fmla="*/ 2599 h 20715"/>
                  <a:gd name="connsiteX6" fmla="*/ 81186 w 83784"/>
                  <a:gd name="connsiteY6" fmla="*/ 9974 h 20715"/>
                  <a:gd name="connsiteX7" fmla="*/ 41982 w 83784"/>
                  <a:gd name="connsiteY7" fmla="*/ 20715 h 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784" h="20715">
                    <a:moveTo>
                      <a:pt x="41982" y="20715"/>
                    </a:moveTo>
                    <a:cubicBezTo>
                      <a:pt x="28121" y="20789"/>
                      <a:pt x="14503" y="17075"/>
                      <a:pt x="2599" y="9974"/>
                    </a:cubicBezTo>
                    <a:cubicBezTo>
                      <a:pt x="58" y="8442"/>
                      <a:pt x="-760" y="5140"/>
                      <a:pt x="773" y="2599"/>
                    </a:cubicBezTo>
                    <a:cubicBezTo>
                      <a:pt x="2305" y="58"/>
                      <a:pt x="5607" y="-760"/>
                      <a:pt x="8148" y="773"/>
                    </a:cubicBezTo>
                    <a:cubicBezTo>
                      <a:pt x="28916" y="13242"/>
                      <a:pt x="54868" y="13242"/>
                      <a:pt x="75636" y="773"/>
                    </a:cubicBezTo>
                    <a:cubicBezTo>
                      <a:pt x="78177" y="-760"/>
                      <a:pt x="81479" y="58"/>
                      <a:pt x="83012" y="2599"/>
                    </a:cubicBezTo>
                    <a:cubicBezTo>
                      <a:pt x="84544" y="5140"/>
                      <a:pt x="83727" y="8442"/>
                      <a:pt x="81186" y="9974"/>
                    </a:cubicBezTo>
                    <a:cubicBezTo>
                      <a:pt x="69333" y="17042"/>
                      <a:pt x="55782" y="20755"/>
                      <a:pt x="41982" y="20715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9" name="Рисунок 61">
                <a:extLst>
                  <a:ext uri="{FF2B5EF4-FFF2-40B4-BE49-F238E27FC236}">
                    <a16:creationId xmlns:a16="http://schemas.microsoft.com/office/drawing/2014/main" id="{478114CF-3B7A-4111-BE0A-783CFEDB2F98}"/>
                  </a:ext>
                </a:extLst>
              </p:cNvPr>
              <p:cNvSpPr/>
              <p:nvPr/>
            </p:nvSpPr>
            <p:spPr>
              <a:xfrm>
                <a:off x="1971856" y="3146498"/>
                <a:ext cx="70495" cy="8632"/>
              </a:xfrm>
              <a:custGeom>
                <a:avLst/>
                <a:gdLst>
                  <a:gd name="connsiteX0" fmla="*/ 0 w 70495"/>
                  <a:gd name="connsiteY0" fmla="*/ 2148 h 8632"/>
                  <a:gd name="connsiteX1" fmla="*/ 43679 w 70495"/>
                  <a:gd name="connsiteY1" fmla="*/ 0 h 8632"/>
                  <a:gd name="connsiteX2" fmla="*/ 70496 w 70495"/>
                  <a:gd name="connsiteY2" fmla="*/ 1396 h 8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495" h="8632">
                    <a:moveTo>
                      <a:pt x="0" y="2148"/>
                    </a:moveTo>
                    <a:cubicBezTo>
                      <a:pt x="20372" y="17901"/>
                      <a:pt x="43679" y="0"/>
                      <a:pt x="43679" y="0"/>
                    </a:cubicBezTo>
                    <a:cubicBezTo>
                      <a:pt x="43679" y="0"/>
                      <a:pt x="59039" y="16684"/>
                      <a:pt x="70496" y="1396"/>
                    </a:cubicBezTo>
                  </a:path>
                </a:pathLst>
              </a:custGeom>
              <a:solidFill>
                <a:srgbClr val="FFFFFF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0" name="Рисунок 61">
                <a:extLst>
                  <a:ext uri="{FF2B5EF4-FFF2-40B4-BE49-F238E27FC236}">
                    <a16:creationId xmlns:a16="http://schemas.microsoft.com/office/drawing/2014/main" id="{36823691-AA10-409B-9D8D-4B23F95E0AD5}"/>
                  </a:ext>
                </a:extLst>
              </p:cNvPr>
              <p:cNvSpPr/>
              <p:nvPr/>
            </p:nvSpPr>
            <p:spPr>
              <a:xfrm>
                <a:off x="1966485" y="3141077"/>
                <a:ext cx="81202" cy="19385"/>
              </a:xfrm>
              <a:custGeom>
                <a:avLst/>
                <a:gdLst>
                  <a:gd name="connsiteX0" fmla="*/ 24096 w 81202"/>
                  <a:gd name="connsiteY0" fmla="*/ 19384 h 19385"/>
                  <a:gd name="connsiteX1" fmla="*/ 2078 w 81202"/>
                  <a:gd name="connsiteY1" fmla="*/ 11830 h 19385"/>
                  <a:gd name="connsiteX2" fmla="*/ 1129 w 81202"/>
                  <a:gd name="connsiteY2" fmla="*/ 4294 h 19385"/>
                  <a:gd name="connsiteX3" fmla="*/ 8665 w 81202"/>
                  <a:gd name="connsiteY3" fmla="*/ 3345 h 19385"/>
                  <a:gd name="connsiteX4" fmla="*/ 45793 w 81202"/>
                  <a:gd name="connsiteY4" fmla="*/ 1089 h 19385"/>
                  <a:gd name="connsiteX5" fmla="*/ 52953 w 81202"/>
                  <a:gd name="connsiteY5" fmla="*/ 1698 h 19385"/>
                  <a:gd name="connsiteX6" fmla="*/ 64876 w 81202"/>
                  <a:gd name="connsiteY6" fmla="*/ 7820 h 19385"/>
                  <a:gd name="connsiteX7" fmla="*/ 71535 w 81202"/>
                  <a:gd name="connsiteY7" fmla="*/ 3524 h 19385"/>
                  <a:gd name="connsiteX8" fmla="*/ 79054 w 81202"/>
                  <a:gd name="connsiteY8" fmla="*/ 2450 h 19385"/>
                  <a:gd name="connsiteX9" fmla="*/ 80128 w 81202"/>
                  <a:gd name="connsiteY9" fmla="*/ 9968 h 19385"/>
                  <a:gd name="connsiteX10" fmla="*/ 65377 w 81202"/>
                  <a:gd name="connsiteY10" fmla="*/ 18561 h 19385"/>
                  <a:gd name="connsiteX11" fmla="*/ 48514 w 81202"/>
                  <a:gd name="connsiteY11" fmla="*/ 12188 h 19385"/>
                  <a:gd name="connsiteX12" fmla="*/ 24096 w 81202"/>
                  <a:gd name="connsiteY12" fmla="*/ 19384 h 19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1202" h="19385">
                    <a:moveTo>
                      <a:pt x="24096" y="19384"/>
                    </a:moveTo>
                    <a:cubicBezTo>
                      <a:pt x="16111" y="19445"/>
                      <a:pt x="8344" y="16780"/>
                      <a:pt x="2078" y="11830"/>
                    </a:cubicBezTo>
                    <a:cubicBezTo>
                      <a:pt x="-266" y="10011"/>
                      <a:pt x="-690" y="6637"/>
                      <a:pt x="1129" y="4294"/>
                    </a:cubicBezTo>
                    <a:cubicBezTo>
                      <a:pt x="2948" y="1950"/>
                      <a:pt x="6322" y="1526"/>
                      <a:pt x="8665" y="3345"/>
                    </a:cubicBezTo>
                    <a:cubicBezTo>
                      <a:pt x="25278" y="16377"/>
                      <a:pt x="44969" y="1841"/>
                      <a:pt x="45793" y="1089"/>
                    </a:cubicBezTo>
                    <a:cubicBezTo>
                      <a:pt x="47984" y="-570"/>
                      <a:pt x="51074" y="-307"/>
                      <a:pt x="52953" y="1698"/>
                    </a:cubicBezTo>
                    <a:cubicBezTo>
                      <a:pt x="54600" y="3488"/>
                      <a:pt x="59935" y="8107"/>
                      <a:pt x="64876" y="7820"/>
                    </a:cubicBezTo>
                    <a:cubicBezTo>
                      <a:pt x="67636" y="7481"/>
                      <a:pt x="70089" y="5899"/>
                      <a:pt x="71535" y="3524"/>
                    </a:cubicBezTo>
                    <a:cubicBezTo>
                      <a:pt x="73315" y="1151"/>
                      <a:pt x="76681" y="670"/>
                      <a:pt x="79054" y="2450"/>
                    </a:cubicBezTo>
                    <a:cubicBezTo>
                      <a:pt x="81426" y="4229"/>
                      <a:pt x="81907" y="7596"/>
                      <a:pt x="80128" y="9968"/>
                    </a:cubicBezTo>
                    <a:cubicBezTo>
                      <a:pt x="76798" y="14953"/>
                      <a:pt x="71356" y="18124"/>
                      <a:pt x="65377" y="18561"/>
                    </a:cubicBezTo>
                    <a:cubicBezTo>
                      <a:pt x="59177" y="18507"/>
                      <a:pt x="53200" y="16248"/>
                      <a:pt x="48514" y="12188"/>
                    </a:cubicBezTo>
                    <a:cubicBezTo>
                      <a:pt x="41159" y="16714"/>
                      <a:pt x="32731" y="19199"/>
                      <a:pt x="24096" y="19384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61" name="Группа 260">
            <a:extLst>
              <a:ext uri="{FF2B5EF4-FFF2-40B4-BE49-F238E27FC236}">
                <a16:creationId xmlns:a16="http://schemas.microsoft.com/office/drawing/2014/main" id="{57387D8B-68C3-4A66-A6CB-13BE97DF8AC1}"/>
              </a:ext>
            </a:extLst>
          </p:cNvPr>
          <p:cNvGrpSpPr/>
          <p:nvPr/>
        </p:nvGrpSpPr>
        <p:grpSpPr>
          <a:xfrm>
            <a:off x="3945268" y="3405579"/>
            <a:ext cx="725361" cy="732180"/>
            <a:chOff x="4462403" y="5016400"/>
            <a:chExt cx="550305" cy="550305"/>
          </a:xfrm>
        </p:grpSpPr>
        <p:sp>
          <p:nvSpPr>
            <p:cNvPr id="262" name="Овал 261">
              <a:extLst>
                <a:ext uri="{FF2B5EF4-FFF2-40B4-BE49-F238E27FC236}">
                  <a16:creationId xmlns:a16="http://schemas.microsoft.com/office/drawing/2014/main" id="{D2804D1B-F3C3-46F1-923F-889ED9D39DE4}"/>
                </a:ext>
              </a:extLst>
            </p:cNvPr>
            <p:cNvSpPr/>
            <p:nvPr/>
          </p:nvSpPr>
          <p:spPr>
            <a:xfrm>
              <a:off x="4462403" y="5016400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accent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63" name="Рисунок 88">
              <a:extLst>
                <a:ext uri="{FF2B5EF4-FFF2-40B4-BE49-F238E27FC236}">
                  <a16:creationId xmlns:a16="http://schemas.microsoft.com/office/drawing/2014/main" id="{183B4389-FD38-4A02-AD8E-B26DCA202F4B}"/>
                </a:ext>
              </a:extLst>
            </p:cNvPr>
            <p:cNvGrpSpPr/>
            <p:nvPr/>
          </p:nvGrpSpPr>
          <p:grpSpPr>
            <a:xfrm>
              <a:off x="4586402" y="5119064"/>
              <a:ext cx="303701" cy="346782"/>
              <a:chOff x="4586402" y="5119064"/>
              <a:chExt cx="303701" cy="346782"/>
            </a:xfrm>
            <a:solidFill>
              <a:srgbClr val="231F20"/>
            </a:solidFill>
          </p:grpSpPr>
          <p:sp>
            <p:nvSpPr>
              <p:cNvPr id="264" name="Рисунок 88">
                <a:extLst>
                  <a:ext uri="{FF2B5EF4-FFF2-40B4-BE49-F238E27FC236}">
                    <a16:creationId xmlns:a16="http://schemas.microsoft.com/office/drawing/2014/main" id="{8B23C696-8F6B-4436-97E8-75CB7F98F76A}"/>
                  </a:ext>
                </a:extLst>
              </p:cNvPr>
              <p:cNvSpPr/>
              <p:nvPr/>
            </p:nvSpPr>
            <p:spPr>
              <a:xfrm>
                <a:off x="4586402" y="5313610"/>
                <a:ext cx="198534" cy="123308"/>
              </a:xfrm>
              <a:custGeom>
                <a:avLst/>
                <a:gdLst>
                  <a:gd name="connsiteX0" fmla="*/ 117884 w 198534"/>
                  <a:gd name="connsiteY0" fmla="*/ 10848 h 123308"/>
                  <a:gd name="connsiteX1" fmla="*/ 189483 w 198534"/>
                  <a:gd name="connsiteY1" fmla="*/ 38330 h 123308"/>
                  <a:gd name="connsiteX2" fmla="*/ 197076 w 198534"/>
                  <a:gd name="connsiteY2" fmla="*/ 37969 h 123308"/>
                  <a:gd name="connsiteX3" fmla="*/ 196715 w 198534"/>
                  <a:gd name="connsiteY3" fmla="*/ 30375 h 123308"/>
                  <a:gd name="connsiteX4" fmla="*/ 117884 w 198534"/>
                  <a:gd name="connsiteY4" fmla="*/ 0 h 123308"/>
                  <a:gd name="connsiteX5" fmla="*/ 0 w 198534"/>
                  <a:gd name="connsiteY5" fmla="*/ 117884 h 123308"/>
                  <a:gd name="connsiteX6" fmla="*/ 5424 w 198534"/>
                  <a:gd name="connsiteY6" fmla="*/ 123308 h 123308"/>
                  <a:gd name="connsiteX7" fmla="*/ 110290 w 198534"/>
                  <a:gd name="connsiteY7" fmla="*/ 123308 h 123308"/>
                  <a:gd name="connsiteX8" fmla="*/ 115715 w 198534"/>
                  <a:gd name="connsiteY8" fmla="*/ 117884 h 123308"/>
                  <a:gd name="connsiteX9" fmla="*/ 110290 w 198534"/>
                  <a:gd name="connsiteY9" fmla="*/ 112460 h 123308"/>
                  <a:gd name="connsiteX10" fmla="*/ 10848 w 198534"/>
                  <a:gd name="connsiteY10" fmla="*/ 112460 h 123308"/>
                  <a:gd name="connsiteX11" fmla="*/ 117884 w 198534"/>
                  <a:gd name="connsiteY11" fmla="*/ 10848 h 123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98534" h="123308">
                    <a:moveTo>
                      <a:pt x="117884" y="10848"/>
                    </a:moveTo>
                    <a:cubicBezTo>
                      <a:pt x="144282" y="10848"/>
                      <a:pt x="169956" y="20612"/>
                      <a:pt x="189483" y="38330"/>
                    </a:cubicBezTo>
                    <a:cubicBezTo>
                      <a:pt x="191652" y="40500"/>
                      <a:pt x="195268" y="40138"/>
                      <a:pt x="197076" y="37969"/>
                    </a:cubicBezTo>
                    <a:cubicBezTo>
                      <a:pt x="199246" y="35799"/>
                      <a:pt x="198884" y="32183"/>
                      <a:pt x="196715" y="30375"/>
                    </a:cubicBezTo>
                    <a:cubicBezTo>
                      <a:pt x="175018" y="10848"/>
                      <a:pt x="147174" y="0"/>
                      <a:pt x="117884" y="0"/>
                    </a:cubicBezTo>
                    <a:cubicBezTo>
                      <a:pt x="52795" y="0"/>
                      <a:pt x="0" y="52795"/>
                      <a:pt x="0" y="117884"/>
                    </a:cubicBezTo>
                    <a:cubicBezTo>
                      <a:pt x="0" y="120777"/>
                      <a:pt x="2531" y="123308"/>
                      <a:pt x="5424" y="123308"/>
                    </a:cubicBezTo>
                    <a:lnTo>
                      <a:pt x="110290" y="123308"/>
                    </a:lnTo>
                    <a:cubicBezTo>
                      <a:pt x="113183" y="123308"/>
                      <a:pt x="115715" y="120777"/>
                      <a:pt x="115715" y="117884"/>
                    </a:cubicBezTo>
                    <a:cubicBezTo>
                      <a:pt x="115715" y="114991"/>
                      <a:pt x="113183" y="112460"/>
                      <a:pt x="110290" y="112460"/>
                    </a:cubicBezTo>
                    <a:lnTo>
                      <a:pt x="10848" y="112460"/>
                    </a:lnTo>
                    <a:cubicBezTo>
                      <a:pt x="13741" y="56049"/>
                      <a:pt x="60389" y="10848"/>
                      <a:pt x="117884" y="10848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solidFill>
                  <a:schemeClr val="accent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5" name="Рисунок 88">
                <a:extLst>
                  <a:ext uri="{FF2B5EF4-FFF2-40B4-BE49-F238E27FC236}">
                    <a16:creationId xmlns:a16="http://schemas.microsoft.com/office/drawing/2014/main" id="{D8C7B0D6-76CF-40F7-84C6-FDA0D3BA6B58}"/>
                  </a:ext>
                </a:extLst>
              </p:cNvPr>
              <p:cNvSpPr/>
              <p:nvPr/>
            </p:nvSpPr>
            <p:spPr>
              <a:xfrm>
                <a:off x="4613823" y="5119064"/>
                <a:ext cx="175079" cy="185866"/>
              </a:xfrm>
              <a:custGeom>
                <a:avLst/>
                <a:gdLst>
                  <a:gd name="connsiteX0" fmla="*/ 12717 w 175079"/>
                  <a:gd name="connsiteY0" fmla="*/ 118246 h 185866"/>
                  <a:gd name="connsiteX1" fmla="*/ 14525 w 175079"/>
                  <a:gd name="connsiteY1" fmla="*/ 118246 h 185866"/>
                  <a:gd name="connsiteX2" fmla="*/ 87209 w 175079"/>
                  <a:gd name="connsiteY2" fmla="*/ 185867 h 185866"/>
                  <a:gd name="connsiteX3" fmla="*/ 159892 w 175079"/>
                  <a:gd name="connsiteY3" fmla="*/ 118246 h 185866"/>
                  <a:gd name="connsiteX4" fmla="*/ 161700 w 175079"/>
                  <a:gd name="connsiteY4" fmla="*/ 118246 h 185866"/>
                  <a:gd name="connsiteX5" fmla="*/ 175079 w 175079"/>
                  <a:gd name="connsiteY5" fmla="*/ 101612 h 185866"/>
                  <a:gd name="connsiteX6" fmla="*/ 166762 w 175079"/>
                  <a:gd name="connsiteY6" fmla="*/ 86063 h 185866"/>
                  <a:gd name="connsiteX7" fmla="*/ 109267 w 175079"/>
                  <a:gd name="connsiteY7" fmla="*/ 14826 h 185866"/>
                  <a:gd name="connsiteX8" fmla="*/ 87570 w 175079"/>
                  <a:gd name="connsiteY8" fmla="*/ 0 h 185866"/>
                  <a:gd name="connsiteX9" fmla="*/ 65874 w 175079"/>
                  <a:gd name="connsiteY9" fmla="*/ 14826 h 185866"/>
                  <a:gd name="connsiteX10" fmla="*/ 8378 w 175079"/>
                  <a:gd name="connsiteY10" fmla="*/ 86063 h 185866"/>
                  <a:gd name="connsiteX11" fmla="*/ 61 w 175079"/>
                  <a:gd name="connsiteY11" fmla="*/ 101612 h 185866"/>
                  <a:gd name="connsiteX12" fmla="*/ 12717 w 175079"/>
                  <a:gd name="connsiteY12" fmla="*/ 118246 h 185866"/>
                  <a:gd name="connsiteX13" fmla="*/ 86847 w 175079"/>
                  <a:gd name="connsiteY13" fmla="*/ 175018 h 185866"/>
                  <a:gd name="connsiteX14" fmla="*/ 25012 w 175079"/>
                  <a:gd name="connsiteY14" fmla="*/ 118246 h 185866"/>
                  <a:gd name="connsiteX15" fmla="*/ 148320 w 175079"/>
                  <a:gd name="connsiteY15" fmla="*/ 118246 h 185866"/>
                  <a:gd name="connsiteX16" fmla="*/ 86847 w 175079"/>
                  <a:gd name="connsiteY16" fmla="*/ 175018 h 185866"/>
                  <a:gd name="connsiteX17" fmla="*/ 108905 w 175079"/>
                  <a:gd name="connsiteY17" fmla="*/ 26759 h 185866"/>
                  <a:gd name="connsiteX18" fmla="*/ 154106 w 175079"/>
                  <a:gd name="connsiteY18" fmla="*/ 86063 h 185866"/>
                  <a:gd name="connsiteX19" fmla="*/ 108905 w 175079"/>
                  <a:gd name="connsiteY19" fmla="*/ 86063 h 185866"/>
                  <a:gd name="connsiteX20" fmla="*/ 108905 w 175079"/>
                  <a:gd name="connsiteY20" fmla="*/ 26759 h 185866"/>
                  <a:gd name="connsiteX21" fmla="*/ 72744 w 175079"/>
                  <a:gd name="connsiteY21" fmla="*/ 23505 h 185866"/>
                  <a:gd name="connsiteX22" fmla="*/ 89378 w 175079"/>
                  <a:gd name="connsiteY22" fmla="*/ 11571 h 185866"/>
                  <a:gd name="connsiteX23" fmla="*/ 98057 w 175079"/>
                  <a:gd name="connsiteY23" fmla="*/ 23866 h 185866"/>
                  <a:gd name="connsiteX24" fmla="*/ 98057 w 175079"/>
                  <a:gd name="connsiteY24" fmla="*/ 85701 h 185866"/>
                  <a:gd name="connsiteX25" fmla="*/ 72744 w 175079"/>
                  <a:gd name="connsiteY25" fmla="*/ 85701 h 185866"/>
                  <a:gd name="connsiteX26" fmla="*/ 72744 w 175079"/>
                  <a:gd name="connsiteY26" fmla="*/ 23505 h 185866"/>
                  <a:gd name="connsiteX27" fmla="*/ 61896 w 175079"/>
                  <a:gd name="connsiteY27" fmla="*/ 26759 h 185866"/>
                  <a:gd name="connsiteX28" fmla="*/ 61896 w 175079"/>
                  <a:gd name="connsiteY28" fmla="*/ 85701 h 185866"/>
                  <a:gd name="connsiteX29" fmla="*/ 17057 w 175079"/>
                  <a:gd name="connsiteY29" fmla="*/ 85701 h 185866"/>
                  <a:gd name="connsiteX30" fmla="*/ 61896 w 175079"/>
                  <a:gd name="connsiteY30" fmla="*/ 26759 h 185866"/>
                  <a:gd name="connsiteX31" fmla="*/ 11633 w 175079"/>
                  <a:gd name="connsiteY31" fmla="*/ 96549 h 185866"/>
                  <a:gd name="connsiteX32" fmla="*/ 12717 w 175079"/>
                  <a:gd name="connsiteY32" fmla="*/ 96549 h 185866"/>
                  <a:gd name="connsiteX33" fmla="*/ 160977 w 175079"/>
                  <a:gd name="connsiteY33" fmla="*/ 96549 h 185866"/>
                  <a:gd name="connsiteX34" fmla="*/ 162061 w 175079"/>
                  <a:gd name="connsiteY34" fmla="*/ 96549 h 185866"/>
                  <a:gd name="connsiteX35" fmla="*/ 163508 w 175079"/>
                  <a:gd name="connsiteY35" fmla="*/ 101612 h 185866"/>
                  <a:gd name="connsiteX36" fmla="*/ 160977 w 175079"/>
                  <a:gd name="connsiteY36" fmla="*/ 107398 h 185866"/>
                  <a:gd name="connsiteX37" fmla="*/ 12717 w 175079"/>
                  <a:gd name="connsiteY37" fmla="*/ 107398 h 185866"/>
                  <a:gd name="connsiteX38" fmla="*/ 10186 w 175079"/>
                  <a:gd name="connsiteY38" fmla="*/ 101612 h 185866"/>
                  <a:gd name="connsiteX39" fmla="*/ 11633 w 175079"/>
                  <a:gd name="connsiteY39" fmla="*/ 96549 h 185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175079" h="185866">
                    <a:moveTo>
                      <a:pt x="12717" y="118246"/>
                    </a:moveTo>
                    <a:lnTo>
                      <a:pt x="14525" y="118246"/>
                    </a:lnTo>
                    <a:cubicBezTo>
                      <a:pt x="17057" y="155853"/>
                      <a:pt x="48517" y="185867"/>
                      <a:pt x="87209" y="185867"/>
                    </a:cubicBezTo>
                    <a:cubicBezTo>
                      <a:pt x="125539" y="185867"/>
                      <a:pt x="156999" y="155853"/>
                      <a:pt x="159892" y="118246"/>
                    </a:cubicBezTo>
                    <a:lnTo>
                      <a:pt x="161700" y="118246"/>
                    </a:lnTo>
                    <a:cubicBezTo>
                      <a:pt x="169294" y="118246"/>
                      <a:pt x="175079" y="111014"/>
                      <a:pt x="175079" y="101612"/>
                    </a:cubicBezTo>
                    <a:cubicBezTo>
                      <a:pt x="175079" y="94380"/>
                      <a:pt x="171825" y="88594"/>
                      <a:pt x="166762" y="86063"/>
                    </a:cubicBezTo>
                    <a:cubicBezTo>
                      <a:pt x="164593" y="52433"/>
                      <a:pt x="141450" y="23866"/>
                      <a:pt x="109267" y="14826"/>
                    </a:cubicBezTo>
                    <a:cubicBezTo>
                      <a:pt x="105651" y="6147"/>
                      <a:pt x="97334" y="0"/>
                      <a:pt x="87570" y="0"/>
                    </a:cubicBezTo>
                    <a:cubicBezTo>
                      <a:pt x="77807" y="0"/>
                      <a:pt x="69128" y="6147"/>
                      <a:pt x="65874" y="14826"/>
                    </a:cubicBezTo>
                    <a:cubicBezTo>
                      <a:pt x="33691" y="24228"/>
                      <a:pt x="10548" y="52433"/>
                      <a:pt x="8378" y="86063"/>
                    </a:cubicBezTo>
                    <a:cubicBezTo>
                      <a:pt x="3677" y="88594"/>
                      <a:pt x="61" y="94380"/>
                      <a:pt x="61" y="101612"/>
                    </a:cubicBezTo>
                    <a:cubicBezTo>
                      <a:pt x="-662" y="111014"/>
                      <a:pt x="5124" y="118246"/>
                      <a:pt x="12717" y="118246"/>
                    </a:cubicBezTo>
                    <a:close/>
                    <a:moveTo>
                      <a:pt x="86847" y="175018"/>
                    </a:moveTo>
                    <a:cubicBezTo>
                      <a:pt x="54302" y="175018"/>
                      <a:pt x="27905" y="150067"/>
                      <a:pt x="25012" y="118246"/>
                    </a:cubicBezTo>
                    <a:lnTo>
                      <a:pt x="148320" y="118246"/>
                    </a:lnTo>
                    <a:cubicBezTo>
                      <a:pt x="145789" y="150067"/>
                      <a:pt x="119030" y="175018"/>
                      <a:pt x="86847" y="175018"/>
                    </a:cubicBezTo>
                    <a:close/>
                    <a:moveTo>
                      <a:pt x="108905" y="26759"/>
                    </a:moveTo>
                    <a:cubicBezTo>
                      <a:pt x="134218" y="35799"/>
                      <a:pt x="151936" y="58942"/>
                      <a:pt x="154106" y="86063"/>
                    </a:cubicBezTo>
                    <a:lnTo>
                      <a:pt x="108905" y="86063"/>
                    </a:lnTo>
                    <a:lnTo>
                      <a:pt x="108905" y="26759"/>
                    </a:lnTo>
                    <a:close/>
                    <a:moveTo>
                      <a:pt x="72744" y="23505"/>
                    </a:moveTo>
                    <a:cubicBezTo>
                      <a:pt x="72744" y="15188"/>
                      <a:pt x="80700" y="8679"/>
                      <a:pt x="89378" y="11571"/>
                    </a:cubicBezTo>
                    <a:cubicBezTo>
                      <a:pt x="94441" y="13379"/>
                      <a:pt x="98057" y="18442"/>
                      <a:pt x="98057" y="23866"/>
                    </a:cubicBezTo>
                    <a:lnTo>
                      <a:pt x="98057" y="85701"/>
                    </a:lnTo>
                    <a:lnTo>
                      <a:pt x="72744" y="85701"/>
                    </a:lnTo>
                    <a:lnTo>
                      <a:pt x="72744" y="23505"/>
                    </a:lnTo>
                    <a:close/>
                    <a:moveTo>
                      <a:pt x="61896" y="26759"/>
                    </a:moveTo>
                    <a:lnTo>
                      <a:pt x="61896" y="85701"/>
                    </a:lnTo>
                    <a:lnTo>
                      <a:pt x="17057" y="85701"/>
                    </a:lnTo>
                    <a:cubicBezTo>
                      <a:pt x="19226" y="58942"/>
                      <a:pt x="36945" y="35799"/>
                      <a:pt x="61896" y="26759"/>
                    </a:cubicBezTo>
                    <a:close/>
                    <a:moveTo>
                      <a:pt x="11633" y="96549"/>
                    </a:moveTo>
                    <a:cubicBezTo>
                      <a:pt x="11994" y="96549"/>
                      <a:pt x="12356" y="96549"/>
                      <a:pt x="12717" y="96549"/>
                    </a:cubicBezTo>
                    <a:lnTo>
                      <a:pt x="160977" y="96549"/>
                    </a:lnTo>
                    <a:cubicBezTo>
                      <a:pt x="161338" y="96549"/>
                      <a:pt x="161700" y="96549"/>
                      <a:pt x="162061" y="96549"/>
                    </a:cubicBezTo>
                    <a:cubicBezTo>
                      <a:pt x="162785" y="97634"/>
                      <a:pt x="163508" y="99081"/>
                      <a:pt x="163508" y="101612"/>
                    </a:cubicBezTo>
                    <a:cubicBezTo>
                      <a:pt x="163508" y="105590"/>
                      <a:pt x="161700" y="107398"/>
                      <a:pt x="160977" y="107398"/>
                    </a:cubicBezTo>
                    <a:lnTo>
                      <a:pt x="12717" y="107398"/>
                    </a:lnTo>
                    <a:cubicBezTo>
                      <a:pt x="11994" y="107398"/>
                      <a:pt x="10186" y="105228"/>
                      <a:pt x="10186" y="101612"/>
                    </a:cubicBezTo>
                    <a:cubicBezTo>
                      <a:pt x="10186" y="99081"/>
                      <a:pt x="10909" y="97273"/>
                      <a:pt x="11633" y="96549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solidFill>
                  <a:schemeClr val="accent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6" name="Рисунок 88">
                <a:extLst>
                  <a:ext uri="{FF2B5EF4-FFF2-40B4-BE49-F238E27FC236}">
                    <a16:creationId xmlns:a16="http://schemas.microsoft.com/office/drawing/2014/main" id="{0ECA19B6-F875-41BE-9066-F07595E84EA5}"/>
                  </a:ext>
                </a:extLst>
              </p:cNvPr>
              <p:cNvSpPr/>
              <p:nvPr/>
            </p:nvSpPr>
            <p:spPr>
              <a:xfrm>
                <a:off x="4713701" y="5316166"/>
                <a:ext cx="176402" cy="149680"/>
              </a:xfrm>
              <a:custGeom>
                <a:avLst/>
                <a:gdLst>
                  <a:gd name="connsiteX0" fmla="*/ 171751 w 176402"/>
                  <a:gd name="connsiteY0" fmla="*/ 48792 h 149680"/>
                  <a:gd name="connsiteX1" fmla="*/ 171751 w 176402"/>
                  <a:gd name="connsiteY1" fmla="*/ 48792 h 149680"/>
                  <a:gd name="connsiteX2" fmla="*/ 159818 w 176402"/>
                  <a:gd name="connsiteY2" fmla="*/ 49154 h 149680"/>
                  <a:gd name="connsiteX3" fmla="*/ 144269 w 176402"/>
                  <a:gd name="connsiteY3" fmla="*/ 60363 h 149680"/>
                  <a:gd name="connsiteX4" fmla="*/ 123295 w 176402"/>
                  <a:gd name="connsiteY4" fmla="*/ 53131 h 149680"/>
                  <a:gd name="connsiteX5" fmla="*/ 122934 w 176402"/>
                  <a:gd name="connsiteY5" fmla="*/ 30712 h 149680"/>
                  <a:gd name="connsiteX6" fmla="*/ 138483 w 176402"/>
                  <a:gd name="connsiteY6" fmla="*/ 19502 h 149680"/>
                  <a:gd name="connsiteX7" fmla="*/ 142461 w 176402"/>
                  <a:gd name="connsiteY7" fmla="*/ 8292 h 149680"/>
                  <a:gd name="connsiteX8" fmla="*/ 133420 w 176402"/>
                  <a:gd name="connsiteY8" fmla="*/ 336 h 149680"/>
                  <a:gd name="connsiteX9" fmla="*/ 98706 w 176402"/>
                  <a:gd name="connsiteY9" fmla="*/ 9377 h 149680"/>
                  <a:gd name="connsiteX10" fmla="*/ 78456 w 176402"/>
                  <a:gd name="connsiteY10" fmla="*/ 55301 h 149680"/>
                  <a:gd name="connsiteX11" fmla="*/ 10474 w 176402"/>
                  <a:gd name="connsiteY11" fmla="*/ 104118 h 149680"/>
                  <a:gd name="connsiteX12" fmla="*/ 349 w 176402"/>
                  <a:gd name="connsiteY12" fmla="*/ 120390 h 149680"/>
                  <a:gd name="connsiteX13" fmla="*/ 4688 w 176402"/>
                  <a:gd name="connsiteY13" fmla="*/ 139194 h 149680"/>
                  <a:gd name="connsiteX14" fmla="*/ 20960 w 176402"/>
                  <a:gd name="connsiteY14" fmla="*/ 149319 h 149680"/>
                  <a:gd name="connsiteX15" fmla="*/ 24938 w 176402"/>
                  <a:gd name="connsiteY15" fmla="*/ 149681 h 149680"/>
                  <a:gd name="connsiteX16" fmla="*/ 39764 w 176402"/>
                  <a:gd name="connsiteY16" fmla="*/ 144980 h 149680"/>
                  <a:gd name="connsiteX17" fmla="*/ 107746 w 176402"/>
                  <a:gd name="connsiteY17" fmla="*/ 95801 h 149680"/>
                  <a:gd name="connsiteX18" fmla="*/ 156563 w 176402"/>
                  <a:gd name="connsiteY18" fmla="*/ 90377 h 149680"/>
                  <a:gd name="connsiteX19" fmla="*/ 176090 w 176402"/>
                  <a:gd name="connsiteY19" fmla="*/ 60363 h 149680"/>
                  <a:gd name="connsiteX20" fmla="*/ 171751 w 176402"/>
                  <a:gd name="connsiteY20" fmla="*/ 48792 h 149680"/>
                  <a:gd name="connsiteX21" fmla="*/ 150416 w 176402"/>
                  <a:gd name="connsiteY21" fmla="*/ 81337 h 149680"/>
                  <a:gd name="connsiteX22" fmla="*/ 109554 w 176402"/>
                  <a:gd name="connsiteY22" fmla="*/ 84230 h 149680"/>
                  <a:gd name="connsiteX23" fmla="*/ 103769 w 176402"/>
                  <a:gd name="connsiteY23" fmla="*/ 84591 h 149680"/>
                  <a:gd name="connsiteX24" fmla="*/ 33617 w 176402"/>
                  <a:gd name="connsiteY24" fmla="*/ 135939 h 149680"/>
                  <a:gd name="connsiteX25" fmla="*/ 23130 w 176402"/>
                  <a:gd name="connsiteY25" fmla="*/ 138471 h 149680"/>
                  <a:gd name="connsiteX26" fmla="*/ 13728 w 176402"/>
                  <a:gd name="connsiteY26" fmla="*/ 132685 h 149680"/>
                  <a:gd name="connsiteX27" fmla="*/ 11197 w 176402"/>
                  <a:gd name="connsiteY27" fmla="*/ 122198 h 149680"/>
                  <a:gd name="connsiteX28" fmla="*/ 16983 w 176402"/>
                  <a:gd name="connsiteY28" fmla="*/ 112797 h 149680"/>
                  <a:gd name="connsiteX29" fmla="*/ 87135 w 176402"/>
                  <a:gd name="connsiteY29" fmla="*/ 62171 h 149680"/>
                  <a:gd name="connsiteX30" fmla="*/ 89304 w 176402"/>
                  <a:gd name="connsiteY30" fmla="*/ 56747 h 149680"/>
                  <a:gd name="connsiteX31" fmla="*/ 104853 w 176402"/>
                  <a:gd name="connsiteY31" fmla="*/ 18055 h 149680"/>
                  <a:gd name="connsiteX32" fmla="*/ 128358 w 176402"/>
                  <a:gd name="connsiteY32" fmla="*/ 10461 h 149680"/>
                  <a:gd name="connsiteX33" fmla="*/ 131974 w 176402"/>
                  <a:gd name="connsiteY33" fmla="*/ 10461 h 149680"/>
                  <a:gd name="connsiteX34" fmla="*/ 113894 w 176402"/>
                  <a:gd name="connsiteY34" fmla="*/ 23479 h 149680"/>
                  <a:gd name="connsiteX35" fmla="*/ 111724 w 176402"/>
                  <a:gd name="connsiteY35" fmla="*/ 27819 h 149680"/>
                  <a:gd name="connsiteX36" fmla="*/ 112086 w 176402"/>
                  <a:gd name="connsiteY36" fmla="*/ 56747 h 149680"/>
                  <a:gd name="connsiteX37" fmla="*/ 115702 w 176402"/>
                  <a:gd name="connsiteY37" fmla="*/ 61810 h 149680"/>
                  <a:gd name="connsiteX38" fmla="*/ 143184 w 176402"/>
                  <a:gd name="connsiteY38" fmla="*/ 71212 h 149680"/>
                  <a:gd name="connsiteX39" fmla="*/ 148246 w 176402"/>
                  <a:gd name="connsiteY39" fmla="*/ 70488 h 149680"/>
                  <a:gd name="connsiteX40" fmla="*/ 165965 w 176402"/>
                  <a:gd name="connsiteY40" fmla="*/ 57832 h 149680"/>
                  <a:gd name="connsiteX41" fmla="*/ 150416 w 176402"/>
                  <a:gd name="connsiteY41" fmla="*/ 81337 h 149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76402" h="149680">
                    <a:moveTo>
                      <a:pt x="171751" y="48792"/>
                    </a:moveTo>
                    <a:cubicBezTo>
                      <a:pt x="171751" y="48792"/>
                      <a:pt x="171751" y="48792"/>
                      <a:pt x="171751" y="48792"/>
                    </a:cubicBezTo>
                    <a:cubicBezTo>
                      <a:pt x="168135" y="46261"/>
                      <a:pt x="163072" y="46622"/>
                      <a:pt x="159818" y="49154"/>
                    </a:cubicBezTo>
                    <a:lnTo>
                      <a:pt x="144269" y="60363"/>
                    </a:lnTo>
                    <a:lnTo>
                      <a:pt x="123295" y="53131"/>
                    </a:lnTo>
                    <a:lnTo>
                      <a:pt x="122934" y="30712"/>
                    </a:lnTo>
                    <a:lnTo>
                      <a:pt x="138483" y="19502"/>
                    </a:lnTo>
                    <a:cubicBezTo>
                      <a:pt x="142099" y="16970"/>
                      <a:pt x="143545" y="12270"/>
                      <a:pt x="142461" y="8292"/>
                    </a:cubicBezTo>
                    <a:cubicBezTo>
                      <a:pt x="141376" y="3953"/>
                      <a:pt x="137760" y="698"/>
                      <a:pt x="133420" y="336"/>
                    </a:cubicBezTo>
                    <a:cubicBezTo>
                      <a:pt x="121126" y="-1110"/>
                      <a:pt x="108831" y="2145"/>
                      <a:pt x="98706" y="9377"/>
                    </a:cubicBezTo>
                    <a:cubicBezTo>
                      <a:pt x="84242" y="19863"/>
                      <a:pt x="76648" y="37582"/>
                      <a:pt x="78456" y="55301"/>
                    </a:cubicBezTo>
                    <a:lnTo>
                      <a:pt x="10474" y="104118"/>
                    </a:lnTo>
                    <a:cubicBezTo>
                      <a:pt x="5050" y="108096"/>
                      <a:pt x="1434" y="113881"/>
                      <a:pt x="349" y="120390"/>
                    </a:cubicBezTo>
                    <a:cubicBezTo>
                      <a:pt x="-736" y="126899"/>
                      <a:pt x="710" y="133770"/>
                      <a:pt x="4688" y="139194"/>
                    </a:cubicBezTo>
                    <a:cubicBezTo>
                      <a:pt x="8666" y="144618"/>
                      <a:pt x="14451" y="148234"/>
                      <a:pt x="20960" y="149319"/>
                    </a:cubicBezTo>
                    <a:cubicBezTo>
                      <a:pt x="22407" y="149681"/>
                      <a:pt x="23492" y="149681"/>
                      <a:pt x="24938" y="149681"/>
                    </a:cubicBezTo>
                    <a:cubicBezTo>
                      <a:pt x="30001" y="149681"/>
                      <a:pt x="35425" y="147873"/>
                      <a:pt x="39764" y="144980"/>
                    </a:cubicBezTo>
                    <a:lnTo>
                      <a:pt x="107746" y="95801"/>
                    </a:lnTo>
                    <a:cubicBezTo>
                      <a:pt x="124019" y="102672"/>
                      <a:pt x="142461" y="100863"/>
                      <a:pt x="156563" y="90377"/>
                    </a:cubicBezTo>
                    <a:cubicBezTo>
                      <a:pt x="166688" y="83145"/>
                      <a:pt x="173559" y="72296"/>
                      <a:pt x="176090" y="60363"/>
                    </a:cubicBezTo>
                    <a:cubicBezTo>
                      <a:pt x="177175" y="55662"/>
                      <a:pt x="175367" y="51323"/>
                      <a:pt x="171751" y="48792"/>
                    </a:cubicBezTo>
                    <a:close/>
                    <a:moveTo>
                      <a:pt x="150416" y="81337"/>
                    </a:moveTo>
                    <a:cubicBezTo>
                      <a:pt x="138483" y="90015"/>
                      <a:pt x="122934" y="91100"/>
                      <a:pt x="109554" y="84230"/>
                    </a:cubicBezTo>
                    <a:cubicBezTo>
                      <a:pt x="107746" y="83145"/>
                      <a:pt x="105577" y="83506"/>
                      <a:pt x="103769" y="84591"/>
                    </a:cubicBezTo>
                    <a:lnTo>
                      <a:pt x="33617" y="135939"/>
                    </a:lnTo>
                    <a:cubicBezTo>
                      <a:pt x="30724" y="138109"/>
                      <a:pt x="26746" y="139194"/>
                      <a:pt x="23130" y="138471"/>
                    </a:cubicBezTo>
                    <a:cubicBezTo>
                      <a:pt x="19514" y="137748"/>
                      <a:pt x="15898" y="135939"/>
                      <a:pt x="13728" y="132685"/>
                    </a:cubicBezTo>
                    <a:cubicBezTo>
                      <a:pt x="11559" y="129431"/>
                      <a:pt x="10474" y="125814"/>
                      <a:pt x="11197" y="122198"/>
                    </a:cubicBezTo>
                    <a:cubicBezTo>
                      <a:pt x="11920" y="118582"/>
                      <a:pt x="13728" y="115328"/>
                      <a:pt x="16983" y="112797"/>
                    </a:cubicBezTo>
                    <a:lnTo>
                      <a:pt x="87135" y="62171"/>
                    </a:lnTo>
                    <a:cubicBezTo>
                      <a:pt x="88943" y="61087"/>
                      <a:pt x="89666" y="58917"/>
                      <a:pt x="89304" y="56747"/>
                    </a:cubicBezTo>
                    <a:cubicBezTo>
                      <a:pt x="86773" y="41921"/>
                      <a:pt x="92559" y="27095"/>
                      <a:pt x="104853" y="18055"/>
                    </a:cubicBezTo>
                    <a:cubicBezTo>
                      <a:pt x="111724" y="12993"/>
                      <a:pt x="120041" y="10461"/>
                      <a:pt x="128358" y="10461"/>
                    </a:cubicBezTo>
                    <a:cubicBezTo>
                      <a:pt x="129443" y="10461"/>
                      <a:pt x="130889" y="10461"/>
                      <a:pt x="131974" y="10461"/>
                    </a:cubicBezTo>
                    <a:lnTo>
                      <a:pt x="113894" y="23479"/>
                    </a:lnTo>
                    <a:cubicBezTo>
                      <a:pt x="112447" y="24564"/>
                      <a:pt x="111724" y="26011"/>
                      <a:pt x="111724" y="27819"/>
                    </a:cubicBezTo>
                    <a:lnTo>
                      <a:pt x="112086" y="56747"/>
                    </a:lnTo>
                    <a:cubicBezTo>
                      <a:pt x="112086" y="58917"/>
                      <a:pt x="113532" y="61087"/>
                      <a:pt x="115702" y="61810"/>
                    </a:cubicBezTo>
                    <a:lnTo>
                      <a:pt x="143184" y="71212"/>
                    </a:lnTo>
                    <a:cubicBezTo>
                      <a:pt x="144992" y="71935"/>
                      <a:pt x="146800" y="71573"/>
                      <a:pt x="148246" y="70488"/>
                    </a:cubicBezTo>
                    <a:lnTo>
                      <a:pt x="165965" y="57832"/>
                    </a:lnTo>
                    <a:cubicBezTo>
                      <a:pt x="163796" y="67596"/>
                      <a:pt x="158371" y="75913"/>
                      <a:pt x="150416" y="81337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solidFill>
                  <a:schemeClr val="accent5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67" name="Группа 266">
            <a:extLst>
              <a:ext uri="{FF2B5EF4-FFF2-40B4-BE49-F238E27FC236}">
                <a16:creationId xmlns:a16="http://schemas.microsoft.com/office/drawing/2014/main" id="{A8069EEB-536F-44B8-91EB-AAEA6643D420}"/>
              </a:ext>
            </a:extLst>
          </p:cNvPr>
          <p:cNvGrpSpPr/>
          <p:nvPr/>
        </p:nvGrpSpPr>
        <p:grpSpPr>
          <a:xfrm>
            <a:off x="5101803" y="3489676"/>
            <a:ext cx="550305" cy="550305"/>
            <a:chOff x="2640229" y="5016400"/>
            <a:chExt cx="550305" cy="550305"/>
          </a:xfrm>
        </p:grpSpPr>
        <p:sp>
          <p:nvSpPr>
            <p:cNvPr id="268" name="Овал 267">
              <a:extLst>
                <a:ext uri="{FF2B5EF4-FFF2-40B4-BE49-F238E27FC236}">
                  <a16:creationId xmlns:a16="http://schemas.microsoft.com/office/drawing/2014/main" id="{479B41FA-E268-48AA-8E34-A9659C47036A}"/>
                </a:ext>
              </a:extLst>
            </p:cNvPr>
            <p:cNvSpPr/>
            <p:nvPr/>
          </p:nvSpPr>
          <p:spPr>
            <a:xfrm>
              <a:off x="2640229" y="5016400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69" name="Рисунок 86">
              <a:extLst>
                <a:ext uri="{FF2B5EF4-FFF2-40B4-BE49-F238E27FC236}">
                  <a16:creationId xmlns:a16="http://schemas.microsoft.com/office/drawing/2014/main" id="{5BBC8426-F2AB-4579-9D69-999557395E8E}"/>
                </a:ext>
              </a:extLst>
            </p:cNvPr>
            <p:cNvGrpSpPr/>
            <p:nvPr/>
          </p:nvGrpSpPr>
          <p:grpSpPr>
            <a:xfrm>
              <a:off x="2750849" y="5177645"/>
              <a:ext cx="330509" cy="229259"/>
              <a:chOff x="2750849" y="5177645"/>
              <a:chExt cx="330509" cy="229259"/>
            </a:xfrm>
            <a:solidFill>
              <a:srgbClr val="231F20"/>
            </a:solidFill>
          </p:grpSpPr>
          <p:sp>
            <p:nvSpPr>
              <p:cNvPr id="270" name="Рисунок 86">
                <a:extLst>
                  <a:ext uri="{FF2B5EF4-FFF2-40B4-BE49-F238E27FC236}">
                    <a16:creationId xmlns:a16="http://schemas.microsoft.com/office/drawing/2014/main" id="{E96654AA-7A7F-4A6B-882E-43CC110AD511}"/>
                  </a:ext>
                </a:extLst>
              </p:cNvPr>
              <p:cNvSpPr/>
              <p:nvPr/>
            </p:nvSpPr>
            <p:spPr>
              <a:xfrm>
                <a:off x="2939247" y="5177645"/>
                <a:ext cx="81723" cy="81723"/>
              </a:xfrm>
              <a:custGeom>
                <a:avLst/>
                <a:gdLst>
                  <a:gd name="connsiteX0" fmla="*/ 40862 w 81723"/>
                  <a:gd name="connsiteY0" fmla="*/ 81723 h 81723"/>
                  <a:gd name="connsiteX1" fmla="*/ 81723 w 81723"/>
                  <a:gd name="connsiteY1" fmla="*/ 40862 h 81723"/>
                  <a:gd name="connsiteX2" fmla="*/ 40862 w 81723"/>
                  <a:gd name="connsiteY2" fmla="*/ 0 h 81723"/>
                  <a:gd name="connsiteX3" fmla="*/ 0 w 81723"/>
                  <a:gd name="connsiteY3" fmla="*/ 40862 h 81723"/>
                  <a:gd name="connsiteX4" fmla="*/ 40862 w 81723"/>
                  <a:gd name="connsiteY4" fmla="*/ 81723 h 81723"/>
                  <a:gd name="connsiteX5" fmla="*/ 40862 w 81723"/>
                  <a:gd name="connsiteY5" fmla="*/ 10848 h 81723"/>
                  <a:gd name="connsiteX6" fmla="*/ 70875 w 81723"/>
                  <a:gd name="connsiteY6" fmla="*/ 40862 h 81723"/>
                  <a:gd name="connsiteX7" fmla="*/ 40862 w 81723"/>
                  <a:gd name="connsiteY7" fmla="*/ 70875 h 81723"/>
                  <a:gd name="connsiteX8" fmla="*/ 10848 w 81723"/>
                  <a:gd name="connsiteY8" fmla="*/ 40862 h 81723"/>
                  <a:gd name="connsiteX9" fmla="*/ 40862 w 81723"/>
                  <a:gd name="connsiteY9" fmla="*/ 10848 h 81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1723" h="81723">
                    <a:moveTo>
                      <a:pt x="40862" y="81723"/>
                    </a:moveTo>
                    <a:cubicBezTo>
                      <a:pt x="63281" y="81723"/>
                      <a:pt x="81723" y="63281"/>
                      <a:pt x="81723" y="40862"/>
                    </a:cubicBezTo>
                    <a:cubicBezTo>
                      <a:pt x="81723" y="18442"/>
                      <a:pt x="63281" y="0"/>
                      <a:pt x="40862" y="0"/>
                    </a:cubicBezTo>
                    <a:cubicBezTo>
                      <a:pt x="18442" y="0"/>
                      <a:pt x="0" y="18442"/>
                      <a:pt x="0" y="40862"/>
                    </a:cubicBezTo>
                    <a:cubicBezTo>
                      <a:pt x="0" y="63281"/>
                      <a:pt x="18080" y="81723"/>
                      <a:pt x="40862" y="81723"/>
                    </a:cubicBezTo>
                    <a:close/>
                    <a:moveTo>
                      <a:pt x="40862" y="10848"/>
                    </a:moveTo>
                    <a:cubicBezTo>
                      <a:pt x="57496" y="10848"/>
                      <a:pt x="70875" y="24228"/>
                      <a:pt x="70875" y="40862"/>
                    </a:cubicBezTo>
                    <a:cubicBezTo>
                      <a:pt x="70875" y="57496"/>
                      <a:pt x="57496" y="70875"/>
                      <a:pt x="40862" y="70875"/>
                    </a:cubicBezTo>
                    <a:cubicBezTo>
                      <a:pt x="24228" y="70875"/>
                      <a:pt x="10848" y="57496"/>
                      <a:pt x="10848" y="40862"/>
                    </a:cubicBezTo>
                    <a:cubicBezTo>
                      <a:pt x="10848" y="24228"/>
                      <a:pt x="24228" y="10848"/>
                      <a:pt x="40862" y="10848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1" name="Рисунок 86">
                <a:extLst>
                  <a:ext uri="{FF2B5EF4-FFF2-40B4-BE49-F238E27FC236}">
                    <a16:creationId xmlns:a16="http://schemas.microsoft.com/office/drawing/2014/main" id="{1F08B875-296E-4F6E-83E4-C70C205D2DB9}"/>
                  </a:ext>
                </a:extLst>
              </p:cNvPr>
              <p:cNvSpPr/>
              <p:nvPr/>
            </p:nvSpPr>
            <p:spPr>
              <a:xfrm>
                <a:off x="2810876" y="5177645"/>
                <a:ext cx="81723" cy="81723"/>
              </a:xfrm>
              <a:custGeom>
                <a:avLst/>
                <a:gdLst>
                  <a:gd name="connsiteX0" fmla="*/ 40862 w 81723"/>
                  <a:gd name="connsiteY0" fmla="*/ 81723 h 81723"/>
                  <a:gd name="connsiteX1" fmla="*/ 81723 w 81723"/>
                  <a:gd name="connsiteY1" fmla="*/ 40862 h 81723"/>
                  <a:gd name="connsiteX2" fmla="*/ 40862 w 81723"/>
                  <a:gd name="connsiteY2" fmla="*/ 0 h 81723"/>
                  <a:gd name="connsiteX3" fmla="*/ 0 w 81723"/>
                  <a:gd name="connsiteY3" fmla="*/ 40862 h 81723"/>
                  <a:gd name="connsiteX4" fmla="*/ 40862 w 81723"/>
                  <a:gd name="connsiteY4" fmla="*/ 81723 h 81723"/>
                  <a:gd name="connsiteX5" fmla="*/ 40862 w 81723"/>
                  <a:gd name="connsiteY5" fmla="*/ 10848 h 81723"/>
                  <a:gd name="connsiteX6" fmla="*/ 70875 w 81723"/>
                  <a:gd name="connsiteY6" fmla="*/ 40862 h 81723"/>
                  <a:gd name="connsiteX7" fmla="*/ 40862 w 81723"/>
                  <a:gd name="connsiteY7" fmla="*/ 70875 h 81723"/>
                  <a:gd name="connsiteX8" fmla="*/ 10848 w 81723"/>
                  <a:gd name="connsiteY8" fmla="*/ 40862 h 81723"/>
                  <a:gd name="connsiteX9" fmla="*/ 40862 w 81723"/>
                  <a:gd name="connsiteY9" fmla="*/ 10848 h 81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1723" h="81723">
                    <a:moveTo>
                      <a:pt x="40862" y="81723"/>
                    </a:moveTo>
                    <a:cubicBezTo>
                      <a:pt x="63281" y="81723"/>
                      <a:pt x="81723" y="63281"/>
                      <a:pt x="81723" y="40862"/>
                    </a:cubicBezTo>
                    <a:cubicBezTo>
                      <a:pt x="81723" y="18442"/>
                      <a:pt x="63281" y="0"/>
                      <a:pt x="40862" y="0"/>
                    </a:cubicBezTo>
                    <a:cubicBezTo>
                      <a:pt x="18442" y="0"/>
                      <a:pt x="0" y="18442"/>
                      <a:pt x="0" y="40862"/>
                    </a:cubicBezTo>
                    <a:cubicBezTo>
                      <a:pt x="0" y="63281"/>
                      <a:pt x="18442" y="81723"/>
                      <a:pt x="40862" y="81723"/>
                    </a:cubicBezTo>
                    <a:close/>
                    <a:moveTo>
                      <a:pt x="40862" y="10848"/>
                    </a:moveTo>
                    <a:cubicBezTo>
                      <a:pt x="57496" y="10848"/>
                      <a:pt x="70875" y="24228"/>
                      <a:pt x="70875" y="40862"/>
                    </a:cubicBezTo>
                    <a:cubicBezTo>
                      <a:pt x="70875" y="57496"/>
                      <a:pt x="57496" y="70875"/>
                      <a:pt x="40862" y="70875"/>
                    </a:cubicBezTo>
                    <a:cubicBezTo>
                      <a:pt x="24228" y="70875"/>
                      <a:pt x="10848" y="57496"/>
                      <a:pt x="10848" y="40862"/>
                    </a:cubicBezTo>
                    <a:cubicBezTo>
                      <a:pt x="10848" y="24228"/>
                      <a:pt x="24228" y="10848"/>
                      <a:pt x="40862" y="10848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2" name="Рисунок 86">
                <a:extLst>
                  <a:ext uri="{FF2B5EF4-FFF2-40B4-BE49-F238E27FC236}">
                    <a16:creationId xmlns:a16="http://schemas.microsoft.com/office/drawing/2014/main" id="{369BB1E4-F819-430F-93A8-81CF03FF903F}"/>
                  </a:ext>
                </a:extLst>
              </p:cNvPr>
              <p:cNvSpPr/>
              <p:nvPr/>
            </p:nvSpPr>
            <p:spPr>
              <a:xfrm>
                <a:off x="2750849" y="5265877"/>
                <a:ext cx="330509" cy="141027"/>
              </a:xfrm>
              <a:custGeom>
                <a:avLst/>
                <a:gdLst>
                  <a:gd name="connsiteX0" fmla="*/ 325086 w 330509"/>
                  <a:gd name="connsiteY0" fmla="*/ 73045 h 141027"/>
                  <a:gd name="connsiteX1" fmla="*/ 298327 w 330509"/>
                  <a:gd name="connsiteY1" fmla="*/ 73045 h 141027"/>
                  <a:gd name="connsiteX2" fmla="*/ 279885 w 330509"/>
                  <a:gd name="connsiteY2" fmla="*/ 30737 h 141027"/>
                  <a:gd name="connsiteX3" fmla="*/ 279885 w 330509"/>
                  <a:gd name="connsiteY3" fmla="*/ 5424 h 141027"/>
                  <a:gd name="connsiteX4" fmla="*/ 274460 w 330509"/>
                  <a:gd name="connsiteY4" fmla="*/ 0 h 141027"/>
                  <a:gd name="connsiteX5" fmla="*/ 183697 w 330509"/>
                  <a:gd name="connsiteY5" fmla="*/ 0 h 141027"/>
                  <a:gd name="connsiteX6" fmla="*/ 178273 w 330509"/>
                  <a:gd name="connsiteY6" fmla="*/ 5424 h 141027"/>
                  <a:gd name="connsiteX7" fmla="*/ 178273 w 330509"/>
                  <a:gd name="connsiteY7" fmla="*/ 30737 h 141027"/>
                  <a:gd name="connsiteX8" fmla="*/ 165616 w 330509"/>
                  <a:gd name="connsiteY8" fmla="*/ 48455 h 141027"/>
                  <a:gd name="connsiteX9" fmla="*/ 165255 w 330509"/>
                  <a:gd name="connsiteY9" fmla="*/ 48455 h 141027"/>
                  <a:gd name="connsiteX10" fmla="*/ 164532 w 330509"/>
                  <a:gd name="connsiteY10" fmla="*/ 48455 h 141027"/>
                  <a:gd name="connsiteX11" fmla="*/ 101250 w 330509"/>
                  <a:gd name="connsiteY11" fmla="*/ 10125 h 141027"/>
                  <a:gd name="connsiteX12" fmla="*/ 37607 w 330509"/>
                  <a:gd name="connsiteY12" fmla="*/ 48455 h 141027"/>
                  <a:gd name="connsiteX13" fmla="*/ 36884 w 330509"/>
                  <a:gd name="connsiteY13" fmla="*/ 48455 h 141027"/>
                  <a:gd name="connsiteX14" fmla="*/ 31460 w 330509"/>
                  <a:gd name="connsiteY14" fmla="*/ 53880 h 141027"/>
                  <a:gd name="connsiteX15" fmla="*/ 31460 w 330509"/>
                  <a:gd name="connsiteY15" fmla="*/ 73045 h 141027"/>
                  <a:gd name="connsiteX16" fmla="*/ 5424 w 330509"/>
                  <a:gd name="connsiteY16" fmla="*/ 73045 h 141027"/>
                  <a:gd name="connsiteX17" fmla="*/ 0 w 330509"/>
                  <a:gd name="connsiteY17" fmla="*/ 78469 h 141027"/>
                  <a:gd name="connsiteX18" fmla="*/ 5424 w 330509"/>
                  <a:gd name="connsiteY18" fmla="*/ 83893 h 141027"/>
                  <a:gd name="connsiteX19" fmla="*/ 18080 w 330509"/>
                  <a:gd name="connsiteY19" fmla="*/ 83893 h 141027"/>
                  <a:gd name="connsiteX20" fmla="*/ 18080 w 330509"/>
                  <a:gd name="connsiteY20" fmla="*/ 135603 h 141027"/>
                  <a:gd name="connsiteX21" fmla="*/ 23505 w 330509"/>
                  <a:gd name="connsiteY21" fmla="*/ 141027 h 141027"/>
                  <a:gd name="connsiteX22" fmla="*/ 28929 w 330509"/>
                  <a:gd name="connsiteY22" fmla="*/ 135603 h 141027"/>
                  <a:gd name="connsiteX23" fmla="*/ 28929 w 330509"/>
                  <a:gd name="connsiteY23" fmla="*/ 83893 h 141027"/>
                  <a:gd name="connsiteX24" fmla="*/ 31460 w 330509"/>
                  <a:gd name="connsiteY24" fmla="*/ 83893 h 141027"/>
                  <a:gd name="connsiteX25" fmla="*/ 31460 w 330509"/>
                  <a:gd name="connsiteY25" fmla="*/ 135603 h 141027"/>
                  <a:gd name="connsiteX26" fmla="*/ 36884 w 330509"/>
                  <a:gd name="connsiteY26" fmla="*/ 141027 h 141027"/>
                  <a:gd name="connsiteX27" fmla="*/ 165255 w 330509"/>
                  <a:gd name="connsiteY27" fmla="*/ 141027 h 141027"/>
                  <a:gd name="connsiteX28" fmla="*/ 170679 w 330509"/>
                  <a:gd name="connsiteY28" fmla="*/ 135603 h 141027"/>
                  <a:gd name="connsiteX29" fmla="*/ 170679 w 330509"/>
                  <a:gd name="connsiteY29" fmla="*/ 83893 h 141027"/>
                  <a:gd name="connsiteX30" fmla="*/ 292902 w 330509"/>
                  <a:gd name="connsiteY30" fmla="*/ 83893 h 141027"/>
                  <a:gd name="connsiteX31" fmla="*/ 301581 w 330509"/>
                  <a:gd name="connsiteY31" fmla="*/ 83893 h 141027"/>
                  <a:gd name="connsiteX32" fmla="*/ 301581 w 330509"/>
                  <a:gd name="connsiteY32" fmla="*/ 135603 h 141027"/>
                  <a:gd name="connsiteX33" fmla="*/ 307005 w 330509"/>
                  <a:gd name="connsiteY33" fmla="*/ 141027 h 141027"/>
                  <a:gd name="connsiteX34" fmla="*/ 312429 w 330509"/>
                  <a:gd name="connsiteY34" fmla="*/ 135603 h 141027"/>
                  <a:gd name="connsiteX35" fmla="*/ 312429 w 330509"/>
                  <a:gd name="connsiteY35" fmla="*/ 83893 h 141027"/>
                  <a:gd name="connsiteX36" fmla="*/ 325086 w 330509"/>
                  <a:gd name="connsiteY36" fmla="*/ 83893 h 141027"/>
                  <a:gd name="connsiteX37" fmla="*/ 330510 w 330509"/>
                  <a:gd name="connsiteY37" fmla="*/ 78469 h 141027"/>
                  <a:gd name="connsiteX38" fmla="*/ 325086 w 330509"/>
                  <a:gd name="connsiteY38" fmla="*/ 73045 h 141027"/>
                  <a:gd name="connsiteX39" fmla="*/ 189121 w 330509"/>
                  <a:gd name="connsiteY39" fmla="*/ 10848 h 141027"/>
                  <a:gd name="connsiteX40" fmla="*/ 269398 w 330509"/>
                  <a:gd name="connsiteY40" fmla="*/ 10848 h 141027"/>
                  <a:gd name="connsiteX41" fmla="*/ 269398 w 330509"/>
                  <a:gd name="connsiteY41" fmla="*/ 73045 h 141027"/>
                  <a:gd name="connsiteX42" fmla="*/ 189121 w 330509"/>
                  <a:gd name="connsiteY42" fmla="*/ 73045 h 141027"/>
                  <a:gd name="connsiteX43" fmla="*/ 189121 w 330509"/>
                  <a:gd name="connsiteY43" fmla="*/ 10848 h 141027"/>
                  <a:gd name="connsiteX44" fmla="*/ 100889 w 330509"/>
                  <a:gd name="connsiteY44" fmla="*/ 20612 h 141027"/>
                  <a:gd name="connsiteX45" fmla="*/ 151875 w 330509"/>
                  <a:gd name="connsiteY45" fmla="*/ 48094 h 141027"/>
                  <a:gd name="connsiteX46" fmla="*/ 49902 w 330509"/>
                  <a:gd name="connsiteY46" fmla="*/ 48094 h 141027"/>
                  <a:gd name="connsiteX47" fmla="*/ 100889 w 330509"/>
                  <a:gd name="connsiteY47" fmla="*/ 20612 h 141027"/>
                  <a:gd name="connsiteX48" fmla="*/ 42308 w 330509"/>
                  <a:gd name="connsiteY48" fmla="*/ 130179 h 141027"/>
                  <a:gd name="connsiteX49" fmla="*/ 42308 w 330509"/>
                  <a:gd name="connsiteY49" fmla="*/ 58942 h 141027"/>
                  <a:gd name="connsiteX50" fmla="*/ 159831 w 330509"/>
                  <a:gd name="connsiteY50" fmla="*/ 58942 h 141027"/>
                  <a:gd name="connsiteX51" fmla="*/ 159831 w 330509"/>
                  <a:gd name="connsiteY51" fmla="*/ 69429 h 141027"/>
                  <a:gd name="connsiteX52" fmla="*/ 159469 w 330509"/>
                  <a:gd name="connsiteY52" fmla="*/ 74130 h 141027"/>
                  <a:gd name="connsiteX53" fmla="*/ 159831 w 330509"/>
                  <a:gd name="connsiteY53" fmla="*/ 78107 h 141027"/>
                  <a:gd name="connsiteX54" fmla="*/ 159831 w 330509"/>
                  <a:gd name="connsiteY54" fmla="*/ 129456 h 141027"/>
                  <a:gd name="connsiteX55" fmla="*/ 42308 w 330509"/>
                  <a:gd name="connsiteY55" fmla="*/ 129456 h 141027"/>
                  <a:gd name="connsiteX56" fmla="*/ 170679 w 330509"/>
                  <a:gd name="connsiteY56" fmla="*/ 70152 h 141027"/>
                  <a:gd name="connsiteX57" fmla="*/ 178273 w 330509"/>
                  <a:gd name="connsiteY57" fmla="*/ 47732 h 141027"/>
                  <a:gd name="connsiteX58" fmla="*/ 178273 w 330509"/>
                  <a:gd name="connsiteY58" fmla="*/ 73045 h 141027"/>
                  <a:gd name="connsiteX59" fmla="*/ 170679 w 330509"/>
                  <a:gd name="connsiteY59" fmla="*/ 73045 h 141027"/>
                  <a:gd name="connsiteX60" fmla="*/ 170679 w 330509"/>
                  <a:gd name="connsiteY60" fmla="*/ 70152 h 141027"/>
                  <a:gd name="connsiteX61" fmla="*/ 280246 w 330509"/>
                  <a:gd name="connsiteY61" fmla="*/ 73045 h 141027"/>
                  <a:gd name="connsiteX62" fmla="*/ 280246 w 330509"/>
                  <a:gd name="connsiteY62" fmla="*/ 48094 h 141027"/>
                  <a:gd name="connsiteX63" fmla="*/ 287840 w 330509"/>
                  <a:gd name="connsiteY63" fmla="*/ 73045 h 141027"/>
                  <a:gd name="connsiteX64" fmla="*/ 280246 w 330509"/>
                  <a:gd name="connsiteY64" fmla="*/ 73045 h 141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30509" h="141027">
                    <a:moveTo>
                      <a:pt x="325086" y="73045"/>
                    </a:moveTo>
                    <a:lnTo>
                      <a:pt x="298327" y="73045"/>
                    </a:lnTo>
                    <a:cubicBezTo>
                      <a:pt x="297965" y="57134"/>
                      <a:pt x="291456" y="42308"/>
                      <a:pt x="279885" y="30737"/>
                    </a:cubicBezTo>
                    <a:lnTo>
                      <a:pt x="279885" y="5424"/>
                    </a:lnTo>
                    <a:cubicBezTo>
                      <a:pt x="279885" y="2531"/>
                      <a:pt x="277353" y="0"/>
                      <a:pt x="274460" y="0"/>
                    </a:cubicBezTo>
                    <a:lnTo>
                      <a:pt x="183697" y="0"/>
                    </a:lnTo>
                    <a:cubicBezTo>
                      <a:pt x="180804" y="0"/>
                      <a:pt x="178273" y="2531"/>
                      <a:pt x="178273" y="5424"/>
                    </a:cubicBezTo>
                    <a:lnTo>
                      <a:pt x="178273" y="30737"/>
                    </a:lnTo>
                    <a:cubicBezTo>
                      <a:pt x="172849" y="36161"/>
                      <a:pt x="168871" y="41947"/>
                      <a:pt x="165616" y="48455"/>
                    </a:cubicBezTo>
                    <a:cubicBezTo>
                      <a:pt x="165616" y="48455"/>
                      <a:pt x="165255" y="48455"/>
                      <a:pt x="165255" y="48455"/>
                    </a:cubicBezTo>
                    <a:lnTo>
                      <a:pt x="164532" y="48455"/>
                    </a:lnTo>
                    <a:cubicBezTo>
                      <a:pt x="153322" y="25313"/>
                      <a:pt x="128371" y="10125"/>
                      <a:pt x="101250" y="10125"/>
                    </a:cubicBezTo>
                    <a:cubicBezTo>
                      <a:pt x="73768" y="10125"/>
                      <a:pt x="48817" y="25313"/>
                      <a:pt x="37607" y="48455"/>
                    </a:cubicBezTo>
                    <a:lnTo>
                      <a:pt x="36884" y="48455"/>
                    </a:lnTo>
                    <a:cubicBezTo>
                      <a:pt x="33991" y="48455"/>
                      <a:pt x="31460" y="50987"/>
                      <a:pt x="31460" y="53880"/>
                    </a:cubicBezTo>
                    <a:lnTo>
                      <a:pt x="31460" y="73045"/>
                    </a:lnTo>
                    <a:lnTo>
                      <a:pt x="5424" y="73045"/>
                    </a:lnTo>
                    <a:cubicBezTo>
                      <a:pt x="2531" y="73045"/>
                      <a:pt x="0" y="75576"/>
                      <a:pt x="0" y="78469"/>
                    </a:cubicBezTo>
                    <a:cubicBezTo>
                      <a:pt x="0" y="81362"/>
                      <a:pt x="2531" y="83893"/>
                      <a:pt x="5424" y="83893"/>
                    </a:cubicBezTo>
                    <a:lnTo>
                      <a:pt x="18080" y="83893"/>
                    </a:lnTo>
                    <a:lnTo>
                      <a:pt x="18080" y="135603"/>
                    </a:lnTo>
                    <a:cubicBezTo>
                      <a:pt x="18080" y="138496"/>
                      <a:pt x="20612" y="141027"/>
                      <a:pt x="23505" y="141027"/>
                    </a:cubicBezTo>
                    <a:cubicBezTo>
                      <a:pt x="26397" y="141027"/>
                      <a:pt x="28929" y="138496"/>
                      <a:pt x="28929" y="135603"/>
                    </a:cubicBezTo>
                    <a:lnTo>
                      <a:pt x="28929" y="83893"/>
                    </a:lnTo>
                    <a:lnTo>
                      <a:pt x="31460" y="83893"/>
                    </a:lnTo>
                    <a:lnTo>
                      <a:pt x="31460" y="135603"/>
                    </a:lnTo>
                    <a:cubicBezTo>
                      <a:pt x="31460" y="138496"/>
                      <a:pt x="33991" y="141027"/>
                      <a:pt x="36884" y="141027"/>
                    </a:cubicBezTo>
                    <a:lnTo>
                      <a:pt x="165255" y="141027"/>
                    </a:lnTo>
                    <a:cubicBezTo>
                      <a:pt x="168148" y="141027"/>
                      <a:pt x="170679" y="138496"/>
                      <a:pt x="170679" y="135603"/>
                    </a:cubicBezTo>
                    <a:lnTo>
                      <a:pt x="170679" y="83893"/>
                    </a:lnTo>
                    <a:lnTo>
                      <a:pt x="292902" y="83893"/>
                    </a:lnTo>
                    <a:lnTo>
                      <a:pt x="301581" y="83893"/>
                    </a:lnTo>
                    <a:lnTo>
                      <a:pt x="301581" y="135603"/>
                    </a:lnTo>
                    <a:cubicBezTo>
                      <a:pt x="301581" y="138496"/>
                      <a:pt x="304112" y="141027"/>
                      <a:pt x="307005" y="141027"/>
                    </a:cubicBezTo>
                    <a:cubicBezTo>
                      <a:pt x="309898" y="141027"/>
                      <a:pt x="312429" y="138496"/>
                      <a:pt x="312429" y="135603"/>
                    </a:cubicBezTo>
                    <a:lnTo>
                      <a:pt x="312429" y="83893"/>
                    </a:lnTo>
                    <a:lnTo>
                      <a:pt x="325086" y="83893"/>
                    </a:lnTo>
                    <a:cubicBezTo>
                      <a:pt x="327978" y="83893"/>
                      <a:pt x="330510" y="81362"/>
                      <a:pt x="330510" y="78469"/>
                    </a:cubicBezTo>
                    <a:cubicBezTo>
                      <a:pt x="330510" y="75214"/>
                      <a:pt x="327978" y="73045"/>
                      <a:pt x="325086" y="73045"/>
                    </a:cubicBezTo>
                    <a:close/>
                    <a:moveTo>
                      <a:pt x="189121" y="10848"/>
                    </a:moveTo>
                    <a:lnTo>
                      <a:pt x="269398" y="10848"/>
                    </a:lnTo>
                    <a:lnTo>
                      <a:pt x="269398" y="73045"/>
                    </a:lnTo>
                    <a:lnTo>
                      <a:pt x="189121" y="73045"/>
                    </a:lnTo>
                    <a:lnTo>
                      <a:pt x="189121" y="10848"/>
                    </a:lnTo>
                    <a:close/>
                    <a:moveTo>
                      <a:pt x="100889" y="20612"/>
                    </a:moveTo>
                    <a:cubicBezTo>
                      <a:pt x="122224" y="20612"/>
                      <a:pt x="141750" y="31460"/>
                      <a:pt x="151875" y="48094"/>
                    </a:cubicBezTo>
                    <a:lnTo>
                      <a:pt x="49902" y="48094"/>
                    </a:lnTo>
                    <a:cubicBezTo>
                      <a:pt x="60027" y="31460"/>
                      <a:pt x="79554" y="20612"/>
                      <a:pt x="100889" y="20612"/>
                    </a:cubicBezTo>
                    <a:close/>
                    <a:moveTo>
                      <a:pt x="42308" y="130179"/>
                    </a:moveTo>
                    <a:lnTo>
                      <a:pt x="42308" y="58942"/>
                    </a:lnTo>
                    <a:lnTo>
                      <a:pt x="159831" y="58942"/>
                    </a:lnTo>
                    <a:lnTo>
                      <a:pt x="159831" y="69429"/>
                    </a:lnTo>
                    <a:cubicBezTo>
                      <a:pt x="159831" y="70875"/>
                      <a:pt x="159469" y="72683"/>
                      <a:pt x="159469" y="74130"/>
                    </a:cubicBezTo>
                    <a:cubicBezTo>
                      <a:pt x="159469" y="75576"/>
                      <a:pt x="159469" y="76661"/>
                      <a:pt x="159831" y="78107"/>
                    </a:cubicBezTo>
                    <a:lnTo>
                      <a:pt x="159831" y="129456"/>
                    </a:lnTo>
                    <a:lnTo>
                      <a:pt x="42308" y="129456"/>
                    </a:lnTo>
                    <a:close/>
                    <a:moveTo>
                      <a:pt x="170679" y="70152"/>
                    </a:moveTo>
                    <a:cubicBezTo>
                      <a:pt x="171402" y="62197"/>
                      <a:pt x="173933" y="54603"/>
                      <a:pt x="178273" y="47732"/>
                    </a:cubicBezTo>
                    <a:lnTo>
                      <a:pt x="178273" y="73045"/>
                    </a:lnTo>
                    <a:lnTo>
                      <a:pt x="170679" y="73045"/>
                    </a:lnTo>
                    <a:lnTo>
                      <a:pt x="170679" y="70152"/>
                    </a:lnTo>
                    <a:close/>
                    <a:moveTo>
                      <a:pt x="280246" y="73045"/>
                    </a:moveTo>
                    <a:lnTo>
                      <a:pt x="280246" y="48094"/>
                    </a:lnTo>
                    <a:cubicBezTo>
                      <a:pt x="284947" y="55688"/>
                      <a:pt x="287478" y="64005"/>
                      <a:pt x="287840" y="73045"/>
                    </a:cubicBezTo>
                    <a:lnTo>
                      <a:pt x="280246" y="73045"/>
                    </a:ln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73" name="Группа 272">
            <a:extLst>
              <a:ext uri="{FF2B5EF4-FFF2-40B4-BE49-F238E27FC236}">
                <a16:creationId xmlns:a16="http://schemas.microsoft.com/office/drawing/2014/main" id="{A8069EEB-536F-44B8-91EB-AAEA6643D420}"/>
              </a:ext>
            </a:extLst>
          </p:cNvPr>
          <p:cNvGrpSpPr/>
          <p:nvPr/>
        </p:nvGrpSpPr>
        <p:grpSpPr>
          <a:xfrm>
            <a:off x="6167166" y="3499068"/>
            <a:ext cx="550305" cy="550305"/>
            <a:chOff x="2640229" y="5016400"/>
            <a:chExt cx="550305" cy="550305"/>
          </a:xfrm>
        </p:grpSpPr>
        <p:sp>
          <p:nvSpPr>
            <p:cNvPr id="274" name="Овал 273">
              <a:extLst>
                <a:ext uri="{FF2B5EF4-FFF2-40B4-BE49-F238E27FC236}">
                  <a16:creationId xmlns:a16="http://schemas.microsoft.com/office/drawing/2014/main" id="{479B41FA-E268-48AA-8E34-A9659C47036A}"/>
                </a:ext>
              </a:extLst>
            </p:cNvPr>
            <p:cNvSpPr/>
            <p:nvPr/>
          </p:nvSpPr>
          <p:spPr>
            <a:xfrm>
              <a:off x="2640229" y="5016400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75" name="Рисунок 86">
              <a:extLst>
                <a:ext uri="{FF2B5EF4-FFF2-40B4-BE49-F238E27FC236}">
                  <a16:creationId xmlns:a16="http://schemas.microsoft.com/office/drawing/2014/main" id="{5BBC8426-F2AB-4579-9D69-999557395E8E}"/>
                </a:ext>
              </a:extLst>
            </p:cNvPr>
            <p:cNvGrpSpPr/>
            <p:nvPr/>
          </p:nvGrpSpPr>
          <p:grpSpPr>
            <a:xfrm>
              <a:off x="2750849" y="5177645"/>
              <a:ext cx="330509" cy="229259"/>
              <a:chOff x="2750849" y="5177645"/>
              <a:chExt cx="330509" cy="229259"/>
            </a:xfrm>
            <a:solidFill>
              <a:srgbClr val="231F20"/>
            </a:solidFill>
          </p:grpSpPr>
          <p:sp>
            <p:nvSpPr>
              <p:cNvPr id="276" name="Рисунок 86">
                <a:extLst>
                  <a:ext uri="{FF2B5EF4-FFF2-40B4-BE49-F238E27FC236}">
                    <a16:creationId xmlns:a16="http://schemas.microsoft.com/office/drawing/2014/main" id="{E96654AA-7A7F-4A6B-882E-43CC110AD511}"/>
                  </a:ext>
                </a:extLst>
              </p:cNvPr>
              <p:cNvSpPr/>
              <p:nvPr/>
            </p:nvSpPr>
            <p:spPr>
              <a:xfrm>
                <a:off x="2939247" y="5177645"/>
                <a:ext cx="81723" cy="81723"/>
              </a:xfrm>
              <a:custGeom>
                <a:avLst/>
                <a:gdLst>
                  <a:gd name="connsiteX0" fmla="*/ 40862 w 81723"/>
                  <a:gd name="connsiteY0" fmla="*/ 81723 h 81723"/>
                  <a:gd name="connsiteX1" fmla="*/ 81723 w 81723"/>
                  <a:gd name="connsiteY1" fmla="*/ 40862 h 81723"/>
                  <a:gd name="connsiteX2" fmla="*/ 40862 w 81723"/>
                  <a:gd name="connsiteY2" fmla="*/ 0 h 81723"/>
                  <a:gd name="connsiteX3" fmla="*/ 0 w 81723"/>
                  <a:gd name="connsiteY3" fmla="*/ 40862 h 81723"/>
                  <a:gd name="connsiteX4" fmla="*/ 40862 w 81723"/>
                  <a:gd name="connsiteY4" fmla="*/ 81723 h 81723"/>
                  <a:gd name="connsiteX5" fmla="*/ 40862 w 81723"/>
                  <a:gd name="connsiteY5" fmla="*/ 10848 h 81723"/>
                  <a:gd name="connsiteX6" fmla="*/ 70875 w 81723"/>
                  <a:gd name="connsiteY6" fmla="*/ 40862 h 81723"/>
                  <a:gd name="connsiteX7" fmla="*/ 40862 w 81723"/>
                  <a:gd name="connsiteY7" fmla="*/ 70875 h 81723"/>
                  <a:gd name="connsiteX8" fmla="*/ 10848 w 81723"/>
                  <a:gd name="connsiteY8" fmla="*/ 40862 h 81723"/>
                  <a:gd name="connsiteX9" fmla="*/ 40862 w 81723"/>
                  <a:gd name="connsiteY9" fmla="*/ 10848 h 81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1723" h="81723">
                    <a:moveTo>
                      <a:pt x="40862" y="81723"/>
                    </a:moveTo>
                    <a:cubicBezTo>
                      <a:pt x="63281" y="81723"/>
                      <a:pt x="81723" y="63281"/>
                      <a:pt x="81723" y="40862"/>
                    </a:cubicBezTo>
                    <a:cubicBezTo>
                      <a:pt x="81723" y="18442"/>
                      <a:pt x="63281" y="0"/>
                      <a:pt x="40862" y="0"/>
                    </a:cubicBezTo>
                    <a:cubicBezTo>
                      <a:pt x="18442" y="0"/>
                      <a:pt x="0" y="18442"/>
                      <a:pt x="0" y="40862"/>
                    </a:cubicBezTo>
                    <a:cubicBezTo>
                      <a:pt x="0" y="63281"/>
                      <a:pt x="18080" y="81723"/>
                      <a:pt x="40862" y="81723"/>
                    </a:cubicBezTo>
                    <a:close/>
                    <a:moveTo>
                      <a:pt x="40862" y="10848"/>
                    </a:moveTo>
                    <a:cubicBezTo>
                      <a:pt x="57496" y="10848"/>
                      <a:pt x="70875" y="24228"/>
                      <a:pt x="70875" y="40862"/>
                    </a:cubicBezTo>
                    <a:cubicBezTo>
                      <a:pt x="70875" y="57496"/>
                      <a:pt x="57496" y="70875"/>
                      <a:pt x="40862" y="70875"/>
                    </a:cubicBezTo>
                    <a:cubicBezTo>
                      <a:pt x="24228" y="70875"/>
                      <a:pt x="10848" y="57496"/>
                      <a:pt x="10848" y="40862"/>
                    </a:cubicBezTo>
                    <a:cubicBezTo>
                      <a:pt x="10848" y="24228"/>
                      <a:pt x="24228" y="10848"/>
                      <a:pt x="40862" y="10848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7" name="Рисунок 86">
                <a:extLst>
                  <a:ext uri="{FF2B5EF4-FFF2-40B4-BE49-F238E27FC236}">
                    <a16:creationId xmlns:a16="http://schemas.microsoft.com/office/drawing/2014/main" id="{1F08B875-296E-4F6E-83E4-C70C205D2DB9}"/>
                  </a:ext>
                </a:extLst>
              </p:cNvPr>
              <p:cNvSpPr/>
              <p:nvPr/>
            </p:nvSpPr>
            <p:spPr>
              <a:xfrm>
                <a:off x="2810876" y="5177645"/>
                <a:ext cx="81723" cy="81723"/>
              </a:xfrm>
              <a:custGeom>
                <a:avLst/>
                <a:gdLst>
                  <a:gd name="connsiteX0" fmla="*/ 40862 w 81723"/>
                  <a:gd name="connsiteY0" fmla="*/ 81723 h 81723"/>
                  <a:gd name="connsiteX1" fmla="*/ 81723 w 81723"/>
                  <a:gd name="connsiteY1" fmla="*/ 40862 h 81723"/>
                  <a:gd name="connsiteX2" fmla="*/ 40862 w 81723"/>
                  <a:gd name="connsiteY2" fmla="*/ 0 h 81723"/>
                  <a:gd name="connsiteX3" fmla="*/ 0 w 81723"/>
                  <a:gd name="connsiteY3" fmla="*/ 40862 h 81723"/>
                  <a:gd name="connsiteX4" fmla="*/ 40862 w 81723"/>
                  <a:gd name="connsiteY4" fmla="*/ 81723 h 81723"/>
                  <a:gd name="connsiteX5" fmla="*/ 40862 w 81723"/>
                  <a:gd name="connsiteY5" fmla="*/ 10848 h 81723"/>
                  <a:gd name="connsiteX6" fmla="*/ 70875 w 81723"/>
                  <a:gd name="connsiteY6" fmla="*/ 40862 h 81723"/>
                  <a:gd name="connsiteX7" fmla="*/ 40862 w 81723"/>
                  <a:gd name="connsiteY7" fmla="*/ 70875 h 81723"/>
                  <a:gd name="connsiteX8" fmla="*/ 10848 w 81723"/>
                  <a:gd name="connsiteY8" fmla="*/ 40862 h 81723"/>
                  <a:gd name="connsiteX9" fmla="*/ 40862 w 81723"/>
                  <a:gd name="connsiteY9" fmla="*/ 10848 h 81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1723" h="81723">
                    <a:moveTo>
                      <a:pt x="40862" y="81723"/>
                    </a:moveTo>
                    <a:cubicBezTo>
                      <a:pt x="63281" y="81723"/>
                      <a:pt x="81723" y="63281"/>
                      <a:pt x="81723" y="40862"/>
                    </a:cubicBezTo>
                    <a:cubicBezTo>
                      <a:pt x="81723" y="18442"/>
                      <a:pt x="63281" y="0"/>
                      <a:pt x="40862" y="0"/>
                    </a:cubicBezTo>
                    <a:cubicBezTo>
                      <a:pt x="18442" y="0"/>
                      <a:pt x="0" y="18442"/>
                      <a:pt x="0" y="40862"/>
                    </a:cubicBezTo>
                    <a:cubicBezTo>
                      <a:pt x="0" y="63281"/>
                      <a:pt x="18442" y="81723"/>
                      <a:pt x="40862" y="81723"/>
                    </a:cubicBezTo>
                    <a:close/>
                    <a:moveTo>
                      <a:pt x="40862" y="10848"/>
                    </a:moveTo>
                    <a:cubicBezTo>
                      <a:pt x="57496" y="10848"/>
                      <a:pt x="70875" y="24228"/>
                      <a:pt x="70875" y="40862"/>
                    </a:cubicBezTo>
                    <a:cubicBezTo>
                      <a:pt x="70875" y="57496"/>
                      <a:pt x="57496" y="70875"/>
                      <a:pt x="40862" y="70875"/>
                    </a:cubicBezTo>
                    <a:cubicBezTo>
                      <a:pt x="24228" y="70875"/>
                      <a:pt x="10848" y="57496"/>
                      <a:pt x="10848" y="40862"/>
                    </a:cubicBezTo>
                    <a:cubicBezTo>
                      <a:pt x="10848" y="24228"/>
                      <a:pt x="24228" y="10848"/>
                      <a:pt x="40862" y="10848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8" name="Рисунок 86">
                <a:extLst>
                  <a:ext uri="{FF2B5EF4-FFF2-40B4-BE49-F238E27FC236}">
                    <a16:creationId xmlns:a16="http://schemas.microsoft.com/office/drawing/2014/main" id="{369BB1E4-F819-430F-93A8-81CF03FF903F}"/>
                  </a:ext>
                </a:extLst>
              </p:cNvPr>
              <p:cNvSpPr/>
              <p:nvPr/>
            </p:nvSpPr>
            <p:spPr>
              <a:xfrm>
                <a:off x="2750849" y="5265877"/>
                <a:ext cx="330509" cy="141027"/>
              </a:xfrm>
              <a:custGeom>
                <a:avLst/>
                <a:gdLst>
                  <a:gd name="connsiteX0" fmla="*/ 325086 w 330509"/>
                  <a:gd name="connsiteY0" fmla="*/ 73045 h 141027"/>
                  <a:gd name="connsiteX1" fmla="*/ 298327 w 330509"/>
                  <a:gd name="connsiteY1" fmla="*/ 73045 h 141027"/>
                  <a:gd name="connsiteX2" fmla="*/ 279885 w 330509"/>
                  <a:gd name="connsiteY2" fmla="*/ 30737 h 141027"/>
                  <a:gd name="connsiteX3" fmla="*/ 279885 w 330509"/>
                  <a:gd name="connsiteY3" fmla="*/ 5424 h 141027"/>
                  <a:gd name="connsiteX4" fmla="*/ 274460 w 330509"/>
                  <a:gd name="connsiteY4" fmla="*/ 0 h 141027"/>
                  <a:gd name="connsiteX5" fmla="*/ 183697 w 330509"/>
                  <a:gd name="connsiteY5" fmla="*/ 0 h 141027"/>
                  <a:gd name="connsiteX6" fmla="*/ 178273 w 330509"/>
                  <a:gd name="connsiteY6" fmla="*/ 5424 h 141027"/>
                  <a:gd name="connsiteX7" fmla="*/ 178273 w 330509"/>
                  <a:gd name="connsiteY7" fmla="*/ 30737 h 141027"/>
                  <a:gd name="connsiteX8" fmla="*/ 165616 w 330509"/>
                  <a:gd name="connsiteY8" fmla="*/ 48455 h 141027"/>
                  <a:gd name="connsiteX9" fmla="*/ 165255 w 330509"/>
                  <a:gd name="connsiteY9" fmla="*/ 48455 h 141027"/>
                  <a:gd name="connsiteX10" fmla="*/ 164532 w 330509"/>
                  <a:gd name="connsiteY10" fmla="*/ 48455 h 141027"/>
                  <a:gd name="connsiteX11" fmla="*/ 101250 w 330509"/>
                  <a:gd name="connsiteY11" fmla="*/ 10125 h 141027"/>
                  <a:gd name="connsiteX12" fmla="*/ 37607 w 330509"/>
                  <a:gd name="connsiteY12" fmla="*/ 48455 h 141027"/>
                  <a:gd name="connsiteX13" fmla="*/ 36884 w 330509"/>
                  <a:gd name="connsiteY13" fmla="*/ 48455 h 141027"/>
                  <a:gd name="connsiteX14" fmla="*/ 31460 w 330509"/>
                  <a:gd name="connsiteY14" fmla="*/ 53880 h 141027"/>
                  <a:gd name="connsiteX15" fmla="*/ 31460 w 330509"/>
                  <a:gd name="connsiteY15" fmla="*/ 73045 h 141027"/>
                  <a:gd name="connsiteX16" fmla="*/ 5424 w 330509"/>
                  <a:gd name="connsiteY16" fmla="*/ 73045 h 141027"/>
                  <a:gd name="connsiteX17" fmla="*/ 0 w 330509"/>
                  <a:gd name="connsiteY17" fmla="*/ 78469 h 141027"/>
                  <a:gd name="connsiteX18" fmla="*/ 5424 w 330509"/>
                  <a:gd name="connsiteY18" fmla="*/ 83893 h 141027"/>
                  <a:gd name="connsiteX19" fmla="*/ 18080 w 330509"/>
                  <a:gd name="connsiteY19" fmla="*/ 83893 h 141027"/>
                  <a:gd name="connsiteX20" fmla="*/ 18080 w 330509"/>
                  <a:gd name="connsiteY20" fmla="*/ 135603 h 141027"/>
                  <a:gd name="connsiteX21" fmla="*/ 23505 w 330509"/>
                  <a:gd name="connsiteY21" fmla="*/ 141027 h 141027"/>
                  <a:gd name="connsiteX22" fmla="*/ 28929 w 330509"/>
                  <a:gd name="connsiteY22" fmla="*/ 135603 h 141027"/>
                  <a:gd name="connsiteX23" fmla="*/ 28929 w 330509"/>
                  <a:gd name="connsiteY23" fmla="*/ 83893 h 141027"/>
                  <a:gd name="connsiteX24" fmla="*/ 31460 w 330509"/>
                  <a:gd name="connsiteY24" fmla="*/ 83893 h 141027"/>
                  <a:gd name="connsiteX25" fmla="*/ 31460 w 330509"/>
                  <a:gd name="connsiteY25" fmla="*/ 135603 h 141027"/>
                  <a:gd name="connsiteX26" fmla="*/ 36884 w 330509"/>
                  <a:gd name="connsiteY26" fmla="*/ 141027 h 141027"/>
                  <a:gd name="connsiteX27" fmla="*/ 165255 w 330509"/>
                  <a:gd name="connsiteY27" fmla="*/ 141027 h 141027"/>
                  <a:gd name="connsiteX28" fmla="*/ 170679 w 330509"/>
                  <a:gd name="connsiteY28" fmla="*/ 135603 h 141027"/>
                  <a:gd name="connsiteX29" fmla="*/ 170679 w 330509"/>
                  <a:gd name="connsiteY29" fmla="*/ 83893 h 141027"/>
                  <a:gd name="connsiteX30" fmla="*/ 292902 w 330509"/>
                  <a:gd name="connsiteY30" fmla="*/ 83893 h 141027"/>
                  <a:gd name="connsiteX31" fmla="*/ 301581 w 330509"/>
                  <a:gd name="connsiteY31" fmla="*/ 83893 h 141027"/>
                  <a:gd name="connsiteX32" fmla="*/ 301581 w 330509"/>
                  <a:gd name="connsiteY32" fmla="*/ 135603 h 141027"/>
                  <a:gd name="connsiteX33" fmla="*/ 307005 w 330509"/>
                  <a:gd name="connsiteY33" fmla="*/ 141027 h 141027"/>
                  <a:gd name="connsiteX34" fmla="*/ 312429 w 330509"/>
                  <a:gd name="connsiteY34" fmla="*/ 135603 h 141027"/>
                  <a:gd name="connsiteX35" fmla="*/ 312429 w 330509"/>
                  <a:gd name="connsiteY35" fmla="*/ 83893 h 141027"/>
                  <a:gd name="connsiteX36" fmla="*/ 325086 w 330509"/>
                  <a:gd name="connsiteY36" fmla="*/ 83893 h 141027"/>
                  <a:gd name="connsiteX37" fmla="*/ 330510 w 330509"/>
                  <a:gd name="connsiteY37" fmla="*/ 78469 h 141027"/>
                  <a:gd name="connsiteX38" fmla="*/ 325086 w 330509"/>
                  <a:gd name="connsiteY38" fmla="*/ 73045 h 141027"/>
                  <a:gd name="connsiteX39" fmla="*/ 189121 w 330509"/>
                  <a:gd name="connsiteY39" fmla="*/ 10848 h 141027"/>
                  <a:gd name="connsiteX40" fmla="*/ 269398 w 330509"/>
                  <a:gd name="connsiteY40" fmla="*/ 10848 h 141027"/>
                  <a:gd name="connsiteX41" fmla="*/ 269398 w 330509"/>
                  <a:gd name="connsiteY41" fmla="*/ 73045 h 141027"/>
                  <a:gd name="connsiteX42" fmla="*/ 189121 w 330509"/>
                  <a:gd name="connsiteY42" fmla="*/ 73045 h 141027"/>
                  <a:gd name="connsiteX43" fmla="*/ 189121 w 330509"/>
                  <a:gd name="connsiteY43" fmla="*/ 10848 h 141027"/>
                  <a:gd name="connsiteX44" fmla="*/ 100889 w 330509"/>
                  <a:gd name="connsiteY44" fmla="*/ 20612 h 141027"/>
                  <a:gd name="connsiteX45" fmla="*/ 151875 w 330509"/>
                  <a:gd name="connsiteY45" fmla="*/ 48094 h 141027"/>
                  <a:gd name="connsiteX46" fmla="*/ 49902 w 330509"/>
                  <a:gd name="connsiteY46" fmla="*/ 48094 h 141027"/>
                  <a:gd name="connsiteX47" fmla="*/ 100889 w 330509"/>
                  <a:gd name="connsiteY47" fmla="*/ 20612 h 141027"/>
                  <a:gd name="connsiteX48" fmla="*/ 42308 w 330509"/>
                  <a:gd name="connsiteY48" fmla="*/ 130179 h 141027"/>
                  <a:gd name="connsiteX49" fmla="*/ 42308 w 330509"/>
                  <a:gd name="connsiteY49" fmla="*/ 58942 h 141027"/>
                  <a:gd name="connsiteX50" fmla="*/ 159831 w 330509"/>
                  <a:gd name="connsiteY50" fmla="*/ 58942 h 141027"/>
                  <a:gd name="connsiteX51" fmla="*/ 159831 w 330509"/>
                  <a:gd name="connsiteY51" fmla="*/ 69429 h 141027"/>
                  <a:gd name="connsiteX52" fmla="*/ 159469 w 330509"/>
                  <a:gd name="connsiteY52" fmla="*/ 74130 h 141027"/>
                  <a:gd name="connsiteX53" fmla="*/ 159831 w 330509"/>
                  <a:gd name="connsiteY53" fmla="*/ 78107 h 141027"/>
                  <a:gd name="connsiteX54" fmla="*/ 159831 w 330509"/>
                  <a:gd name="connsiteY54" fmla="*/ 129456 h 141027"/>
                  <a:gd name="connsiteX55" fmla="*/ 42308 w 330509"/>
                  <a:gd name="connsiteY55" fmla="*/ 129456 h 141027"/>
                  <a:gd name="connsiteX56" fmla="*/ 170679 w 330509"/>
                  <a:gd name="connsiteY56" fmla="*/ 70152 h 141027"/>
                  <a:gd name="connsiteX57" fmla="*/ 178273 w 330509"/>
                  <a:gd name="connsiteY57" fmla="*/ 47732 h 141027"/>
                  <a:gd name="connsiteX58" fmla="*/ 178273 w 330509"/>
                  <a:gd name="connsiteY58" fmla="*/ 73045 h 141027"/>
                  <a:gd name="connsiteX59" fmla="*/ 170679 w 330509"/>
                  <a:gd name="connsiteY59" fmla="*/ 73045 h 141027"/>
                  <a:gd name="connsiteX60" fmla="*/ 170679 w 330509"/>
                  <a:gd name="connsiteY60" fmla="*/ 70152 h 141027"/>
                  <a:gd name="connsiteX61" fmla="*/ 280246 w 330509"/>
                  <a:gd name="connsiteY61" fmla="*/ 73045 h 141027"/>
                  <a:gd name="connsiteX62" fmla="*/ 280246 w 330509"/>
                  <a:gd name="connsiteY62" fmla="*/ 48094 h 141027"/>
                  <a:gd name="connsiteX63" fmla="*/ 287840 w 330509"/>
                  <a:gd name="connsiteY63" fmla="*/ 73045 h 141027"/>
                  <a:gd name="connsiteX64" fmla="*/ 280246 w 330509"/>
                  <a:gd name="connsiteY64" fmla="*/ 73045 h 141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30509" h="141027">
                    <a:moveTo>
                      <a:pt x="325086" y="73045"/>
                    </a:moveTo>
                    <a:lnTo>
                      <a:pt x="298327" y="73045"/>
                    </a:lnTo>
                    <a:cubicBezTo>
                      <a:pt x="297965" y="57134"/>
                      <a:pt x="291456" y="42308"/>
                      <a:pt x="279885" y="30737"/>
                    </a:cubicBezTo>
                    <a:lnTo>
                      <a:pt x="279885" y="5424"/>
                    </a:lnTo>
                    <a:cubicBezTo>
                      <a:pt x="279885" y="2531"/>
                      <a:pt x="277353" y="0"/>
                      <a:pt x="274460" y="0"/>
                    </a:cubicBezTo>
                    <a:lnTo>
                      <a:pt x="183697" y="0"/>
                    </a:lnTo>
                    <a:cubicBezTo>
                      <a:pt x="180804" y="0"/>
                      <a:pt x="178273" y="2531"/>
                      <a:pt x="178273" y="5424"/>
                    </a:cubicBezTo>
                    <a:lnTo>
                      <a:pt x="178273" y="30737"/>
                    </a:lnTo>
                    <a:cubicBezTo>
                      <a:pt x="172849" y="36161"/>
                      <a:pt x="168871" y="41947"/>
                      <a:pt x="165616" y="48455"/>
                    </a:cubicBezTo>
                    <a:cubicBezTo>
                      <a:pt x="165616" y="48455"/>
                      <a:pt x="165255" y="48455"/>
                      <a:pt x="165255" y="48455"/>
                    </a:cubicBezTo>
                    <a:lnTo>
                      <a:pt x="164532" y="48455"/>
                    </a:lnTo>
                    <a:cubicBezTo>
                      <a:pt x="153322" y="25313"/>
                      <a:pt x="128371" y="10125"/>
                      <a:pt x="101250" y="10125"/>
                    </a:cubicBezTo>
                    <a:cubicBezTo>
                      <a:pt x="73768" y="10125"/>
                      <a:pt x="48817" y="25313"/>
                      <a:pt x="37607" y="48455"/>
                    </a:cubicBezTo>
                    <a:lnTo>
                      <a:pt x="36884" y="48455"/>
                    </a:lnTo>
                    <a:cubicBezTo>
                      <a:pt x="33991" y="48455"/>
                      <a:pt x="31460" y="50987"/>
                      <a:pt x="31460" y="53880"/>
                    </a:cubicBezTo>
                    <a:lnTo>
                      <a:pt x="31460" y="73045"/>
                    </a:lnTo>
                    <a:lnTo>
                      <a:pt x="5424" y="73045"/>
                    </a:lnTo>
                    <a:cubicBezTo>
                      <a:pt x="2531" y="73045"/>
                      <a:pt x="0" y="75576"/>
                      <a:pt x="0" y="78469"/>
                    </a:cubicBezTo>
                    <a:cubicBezTo>
                      <a:pt x="0" y="81362"/>
                      <a:pt x="2531" y="83893"/>
                      <a:pt x="5424" y="83893"/>
                    </a:cubicBezTo>
                    <a:lnTo>
                      <a:pt x="18080" y="83893"/>
                    </a:lnTo>
                    <a:lnTo>
                      <a:pt x="18080" y="135603"/>
                    </a:lnTo>
                    <a:cubicBezTo>
                      <a:pt x="18080" y="138496"/>
                      <a:pt x="20612" y="141027"/>
                      <a:pt x="23505" y="141027"/>
                    </a:cubicBezTo>
                    <a:cubicBezTo>
                      <a:pt x="26397" y="141027"/>
                      <a:pt x="28929" y="138496"/>
                      <a:pt x="28929" y="135603"/>
                    </a:cubicBezTo>
                    <a:lnTo>
                      <a:pt x="28929" y="83893"/>
                    </a:lnTo>
                    <a:lnTo>
                      <a:pt x="31460" y="83893"/>
                    </a:lnTo>
                    <a:lnTo>
                      <a:pt x="31460" y="135603"/>
                    </a:lnTo>
                    <a:cubicBezTo>
                      <a:pt x="31460" y="138496"/>
                      <a:pt x="33991" y="141027"/>
                      <a:pt x="36884" y="141027"/>
                    </a:cubicBezTo>
                    <a:lnTo>
                      <a:pt x="165255" y="141027"/>
                    </a:lnTo>
                    <a:cubicBezTo>
                      <a:pt x="168148" y="141027"/>
                      <a:pt x="170679" y="138496"/>
                      <a:pt x="170679" y="135603"/>
                    </a:cubicBezTo>
                    <a:lnTo>
                      <a:pt x="170679" y="83893"/>
                    </a:lnTo>
                    <a:lnTo>
                      <a:pt x="292902" y="83893"/>
                    </a:lnTo>
                    <a:lnTo>
                      <a:pt x="301581" y="83893"/>
                    </a:lnTo>
                    <a:lnTo>
                      <a:pt x="301581" y="135603"/>
                    </a:lnTo>
                    <a:cubicBezTo>
                      <a:pt x="301581" y="138496"/>
                      <a:pt x="304112" y="141027"/>
                      <a:pt x="307005" y="141027"/>
                    </a:cubicBezTo>
                    <a:cubicBezTo>
                      <a:pt x="309898" y="141027"/>
                      <a:pt x="312429" y="138496"/>
                      <a:pt x="312429" y="135603"/>
                    </a:cubicBezTo>
                    <a:lnTo>
                      <a:pt x="312429" y="83893"/>
                    </a:lnTo>
                    <a:lnTo>
                      <a:pt x="325086" y="83893"/>
                    </a:lnTo>
                    <a:cubicBezTo>
                      <a:pt x="327978" y="83893"/>
                      <a:pt x="330510" y="81362"/>
                      <a:pt x="330510" y="78469"/>
                    </a:cubicBezTo>
                    <a:cubicBezTo>
                      <a:pt x="330510" y="75214"/>
                      <a:pt x="327978" y="73045"/>
                      <a:pt x="325086" y="73045"/>
                    </a:cubicBezTo>
                    <a:close/>
                    <a:moveTo>
                      <a:pt x="189121" y="10848"/>
                    </a:moveTo>
                    <a:lnTo>
                      <a:pt x="269398" y="10848"/>
                    </a:lnTo>
                    <a:lnTo>
                      <a:pt x="269398" y="73045"/>
                    </a:lnTo>
                    <a:lnTo>
                      <a:pt x="189121" y="73045"/>
                    </a:lnTo>
                    <a:lnTo>
                      <a:pt x="189121" y="10848"/>
                    </a:lnTo>
                    <a:close/>
                    <a:moveTo>
                      <a:pt x="100889" y="20612"/>
                    </a:moveTo>
                    <a:cubicBezTo>
                      <a:pt x="122224" y="20612"/>
                      <a:pt x="141750" y="31460"/>
                      <a:pt x="151875" y="48094"/>
                    </a:cubicBezTo>
                    <a:lnTo>
                      <a:pt x="49902" y="48094"/>
                    </a:lnTo>
                    <a:cubicBezTo>
                      <a:pt x="60027" y="31460"/>
                      <a:pt x="79554" y="20612"/>
                      <a:pt x="100889" y="20612"/>
                    </a:cubicBezTo>
                    <a:close/>
                    <a:moveTo>
                      <a:pt x="42308" y="130179"/>
                    </a:moveTo>
                    <a:lnTo>
                      <a:pt x="42308" y="58942"/>
                    </a:lnTo>
                    <a:lnTo>
                      <a:pt x="159831" y="58942"/>
                    </a:lnTo>
                    <a:lnTo>
                      <a:pt x="159831" y="69429"/>
                    </a:lnTo>
                    <a:cubicBezTo>
                      <a:pt x="159831" y="70875"/>
                      <a:pt x="159469" y="72683"/>
                      <a:pt x="159469" y="74130"/>
                    </a:cubicBezTo>
                    <a:cubicBezTo>
                      <a:pt x="159469" y="75576"/>
                      <a:pt x="159469" y="76661"/>
                      <a:pt x="159831" y="78107"/>
                    </a:cubicBezTo>
                    <a:lnTo>
                      <a:pt x="159831" y="129456"/>
                    </a:lnTo>
                    <a:lnTo>
                      <a:pt x="42308" y="129456"/>
                    </a:lnTo>
                    <a:close/>
                    <a:moveTo>
                      <a:pt x="170679" y="70152"/>
                    </a:moveTo>
                    <a:cubicBezTo>
                      <a:pt x="171402" y="62197"/>
                      <a:pt x="173933" y="54603"/>
                      <a:pt x="178273" y="47732"/>
                    </a:cubicBezTo>
                    <a:lnTo>
                      <a:pt x="178273" y="73045"/>
                    </a:lnTo>
                    <a:lnTo>
                      <a:pt x="170679" y="73045"/>
                    </a:lnTo>
                    <a:lnTo>
                      <a:pt x="170679" y="70152"/>
                    </a:lnTo>
                    <a:close/>
                    <a:moveTo>
                      <a:pt x="280246" y="73045"/>
                    </a:moveTo>
                    <a:lnTo>
                      <a:pt x="280246" y="48094"/>
                    </a:lnTo>
                    <a:cubicBezTo>
                      <a:pt x="284947" y="55688"/>
                      <a:pt x="287478" y="64005"/>
                      <a:pt x="287840" y="73045"/>
                    </a:cubicBezTo>
                    <a:lnTo>
                      <a:pt x="280246" y="73045"/>
                    </a:ln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84" name="Группа 283">
            <a:extLst>
              <a:ext uri="{FF2B5EF4-FFF2-40B4-BE49-F238E27FC236}">
                <a16:creationId xmlns:a16="http://schemas.microsoft.com/office/drawing/2014/main" id="{BEA45C90-0503-46F3-926E-567ADBC4DF11}"/>
              </a:ext>
            </a:extLst>
          </p:cNvPr>
          <p:cNvGrpSpPr/>
          <p:nvPr/>
        </p:nvGrpSpPr>
        <p:grpSpPr>
          <a:xfrm>
            <a:off x="8221008" y="3405579"/>
            <a:ext cx="750899" cy="732181"/>
            <a:chOff x="7195664" y="3942146"/>
            <a:chExt cx="550305" cy="550305"/>
          </a:xfrm>
        </p:grpSpPr>
        <p:sp>
          <p:nvSpPr>
            <p:cNvPr id="285" name="Овал 284">
              <a:extLst>
                <a:ext uri="{FF2B5EF4-FFF2-40B4-BE49-F238E27FC236}">
                  <a16:creationId xmlns:a16="http://schemas.microsoft.com/office/drawing/2014/main" id="{76EC2A03-84A7-4CC8-ABA9-01AD87B6EBA1}"/>
                </a:ext>
              </a:extLst>
            </p:cNvPr>
            <p:cNvSpPr/>
            <p:nvPr/>
          </p:nvSpPr>
          <p:spPr>
            <a:xfrm>
              <a:off x="7195664" y="3942146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accent3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86" name="Рисунок 79">
              <a:extLst>
                <a:ext uri="{FF2B5EF4-FFF2-40B4-BE49-F238E27FC236}">
                  <a16:creationId xmlns:a16="http://schemas.microsoft.com/office/drawing/2014/main" id="{49DC42F3-CBDF-4795-A096-4F2F310A3396}"/>
                </a:ext>
              </a:extLst>
            </p:cNvPr>
            <p:cNvGrpSpPr/>
            <p:nvPr/>
          </p:nvGrpSpPr>
          <p:grpSpPr>
            <a:xfrm>
              <a:off x="7345511" y="4057673"/>
              <a:ext cx="247318" cy="323252"/>
              <a:chOff x="7345511" y="4057673"/>
              <a:chExt cx="247318" cy="323252"/>
            </a:xfrm>
            <a:solidFill>
              <a:srgbClr val="000000"/>
            </a:solidFill>
          </p:grpSpPr>
          <p:sp>
            <p:nvSpPr>
              <p:cNvPr id="287" name="Рисунок 79">
                <a:extLst>
                  <a:ext uri="{FF2B5EF4-FFF2-40B4-BE49-F238E27FC236}">
                    <a16:creationId xmlns:a16="http://schemas.microsoft.com/office/drawing/2014/main" id="{C6995F71-02D1-4D15-B6E6-65BE8E7E4EE1}"/>
                  </a:ext>
                </a:extLst>
              </p:cNvPr>
              <p:cNvSpPr/>
              <p:nvPr/>
            </p:nvSpPr>
            <p:spPr>
              <a:xfrm>
                <a:off x="7364520" y="4057673"/>
                <a:ext cx="220521" cy="182615"/>
              </a:xfrm>
              <a:custGeom>
                <a:avLst/>
                <a:gdLst>
                  <a:gd name="connsiteX0" fmla="*/ 3222 w 220521"/>
                  <a:gd name="connsiteY0" fmla="*/ 53789 h 182615"/>
                  <a:gd name="connsiteX1" fmla="*/ 43411 w 220521"/>
                  <a:gd name="connsiteY1" fmla="*/ 71653 h 182615"/>
                  <a:gd name="connsiteX2" fmla="*/ 31308 w 220521"/>
                  <a:gd name="connsiteY2" fmla="*/ 111339 h 182615"/>
                  <a:gd name="connsiteX3" fmla="*/ 102581 w 220521"/>
                  <a:gd name="connsiteY3" fmla="*/ 182616 h 182615"/>
                  <a:gd name="connsiteX4" fmla="*/ 173858 w 220521"/>
                  <a:gd name="connsiteY4" fmla="*/ 111339 h 182615"/>
                  <a:gd name="connsiteX5" fmla="*/ 161986 w 220521"/>
                  <a:gd name="connsiteY5" fmla="*/ 72007 h 182615"/>
                  <a:gd name="connsiteX6" fmla="*/ 199760 w 220521"/>
                  <a:gd name="connsiteY6" fmla="*/ 55221 h 182615"/>
                  <a:gd name="connsiteX7" fmla="*/ 199760 w 220521"/>
                  <a:gd name="connsiteY7" fmla="*/ 122849 h 182615"/>
                  <a:gd name="connsiteX8" fmla="*/ 189624 w 220521"/>
                  <a:gd name="connsiteY8" fmla="*/ 145667 h 182615"/>
                  <a:gd name="connsiteX9" fmla="*/ 190032 w 220521"/>
                  <a:gd name="connsiteY9" fmla="*/ 150827 h 182615"/>
                  <a:gd name="connsiteX10" fmla="*/ 194581 w 220521"/>
                  <a:gd name="connsiteY10" fmla="*/ 153296 h 182615"/>
                  <a:gd name="connsiteX11" fmla="*/ 215099 w 220521"/>
                  <a:gd name="connsiteY11" fmla="*/ 153296 h 182615"/>
                  <a:gd name="connsiteX12" fmla="*/ 219612 w 220521"/>
                  <a:gd name="connsiteY12" fmla="*/ 150885 h 182615"/>
                  <a:gd name="connsiteX13" fmla="*/ 220111 w 220521"/>
                  <a:gd name="connsiteY13" fmla="*/ 145793 h 182615"/>
                  <a:gd name="connsiteX14" fmla="*/ 210611 w 220521"/>
                  <a:gd name="connsiteY14" fmla="*/ 122925 h 182615"/>
                  <a:gd name="connsiteX15" fmla="*/ 210611 w 220521"/>
                  <a:gd name="connsiteY15" fmla="*/ 50238 h 182615"/>
                  <a:gd name="connsiteX16" fmla="*/ 205187 w 220521"/>
                  <a:gd name="connsiteY16" fmla="*/ 44814 h 182615"/>
                  <a:gd name="connsiteX17" fmla="*/ 204460 w 220521"/>
                  <a:gd name="connsiteY17" fmla="*/ 44886 h 182615"/>
                  <a:gd name="connsiteX18" fmla="*/ 202985 w 220521"/>
                  <a:gd name="connsiteY18" fmla="*/ 43878 h 182615"/>
                  <a:gd name="connsiteX19" fmla="*/ 105300 w 220521"/>
                  <a:gd name="connsiteY19" fmla="*/ 466 h 182615"/>
                  <a:gd name="connsiteX20" fmla="*/ 100892 w 220521"/>
                  <a:gd name="connsiteY20" fmla="*/ 466 h 182615"/>
                  <a:gd name="connsiteX21" fmla="*/ 3222 w 220521"/>
                  <a:gd name="connsiteY21" fmla="*/ 43878 h 182615"/>
                  <a:gd name="connsiteX22" fmla="*/ 0 w 220521"/>
                  <a:gd name="connsiteY22" fmla="*/ 48835 h 182615"/>
                  <a:gd name="connsiteX23" fmla="*/ 3222 w 220521"/>
                  <a:gd name="connsiteY23" fmla="*/ 53789 h 182615"/>
                  <a:gd name="connsiteX24" fmla="*/ 163013 w 220521"/>
                  <a:gd name="connsiteY24" fmla="*/ 110052 h 182615"/>
                  <a:gd name="connsiteX25" fmla="*/ 102585 w 220521"/>
                  <a:gd name="connsiteY25" fmla="*/ 170480 h 182615"/>
                  <a:gd name="connsiteX26" fmla="*/ 42160 w 220521"/>
                  <a:gd name="connsiteY26" fmla="*/ 110052 h 182615"/>
                  <a:gd name="connsiteX27" fmla="*/ 53518 w 220521"/>
                  <a:gd name="connsiteY27" fmla="*/ 74856 h 182615"/>
                  <a:gd name="connsiteX28" fmla="*/ 100896 w 220521"/>
                  <a:gd name="connsiteY28" fmla="*/ 95913 h 182615"/>
                  <a:gd name="connsiteX29" fmla="*/ 103098 w 220521"/>
                  <a:gd name="connsiteY29" fmla="*/ 96379 h 182615"/>
                  <a:gd name="connsiteX30" fmla="*/ 105300 w 220521"/>
                  <a:gd name="connsiteY30" fmla="*/ 95913 h 182615"/>
                  <a:gd name="connsiteX31" fmla="*/ 151904 w 220521"/>
                  <a:gd name="connsiteY31" fmla="*/ 75204 h 182615"/>
                  <a:gd name="connsiteX32" fmla="*/ 163013 w 220521"/>
                  <a:gd name="connsiteY32" fmla="*/ 110052 h 182615"/>
                  <a:gd name="connsiteX33" fmla="*/ 202927 w 220521"/>
                  <a:gd name="connsiteY33" fmla="*/ 142448 h 182615"/>
                  <a:gd name="connsiteX34" fmla="*/ 205021 w 220521"/>
                  <a:gd name="connsiteY34" fmla="*/ 137740 h 182615"/>
                  <a:gd name="connsiteX35" fmla="*/ 206977 w 220521"/>
                  <a:gd name="connsiteY35" fmla="*/ 142448 h 182615"/>
                  <a:gd name="connsiteX36" fmla="*/ 202927 w 220521"/>
                  <a:gd name="connsiteY36" fmla="*/ 142448 h 182615"/>
                  <a:gd name="connsiteX37" fmla="*/ 103098 w 220521"/>
                  <a:gd name="connsiteY37" fmla="*/ 10071 h 182615"/>
                  <a:gd name="connsiteX38" fmla="*/ 187425 w 220521"/>
                  <a:gd name="connsiteY38" fmla="*/ 47544 h 182615"/>
                  <a:gd name="connsiteX39" fmla="*/ 103098 w 220521"/>
                  <a:gd name="connsiteY39" fmla="*/ 85018 h 182615"/>
                  <a:gd name="connsiteX40" fmla="*/ 18786 w 220521"/>
                  <a:gd name="connsiteY40" fmla="*/ 47544 h 182615"/>
                  <a:gd name="connsiteX41" fmla="*/ 103098 w 220521"/>
                  <a:gd name="connsiteY41" fmla="*/ 10071 h 182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20521" h="182615">
                    <a:moveTo>
                      <a:pt x="3222" y="53789"/>
                    </a:moveTo>
                    <a:lnTo>
                      <a:pt x="43411" y="71653"/>
                    </a:lnTo>
                    <a:cubicBezTo>
                      <a:pt x="35582" y="83333"/>
                      <a:pt x="31308" y="97182"/>
                      <a:pt x="31308" y="111339"/>
                    </a:cubicBezTo>
                    <a:cubicBezTo>
                      <a:pt x="31308" y="150639"/>
                      <a:pt x="63281" y="182616"/>
                      <a:pt x="102581" y="182616"/>
                    </a:cubicBezTo>
                    <a:cubicBezTo>
                      <a:pt x="141884" y="182616"/>
                      <a:pt x="173858" y="150639"/>
                      <a:pt x="173858" y="111339"/>
                    </a:cubicBezTo>
                    <a:cubicBezTo>
                      <a:pt x="173858" y="97330"/>
                      <a:pt x="169663" y="83611"/>
                      <a:pt x="161986" y="72007"/>
                    </a:cubicBezTo>
                    <a:lnTo>
                      <a:pt x="199760" y="55221"/>
                    </a:lnTo>
                    <a:lnTo>
                      <a:pt x="199760" y="122849"/>
                    </a:lnTo>
                    <a:lnTo>
                      <a:pt x="189624" y="145667"/>
                    </a:lnTo>
                    <a:cubicBezTo>
                      <a:pt x="188875" y="147344"/>
                      <a:pt x="189031" y="149286"/>
                      <a:pt x="190032" y="150827"/>
                    </a:cubicBezTo>
                    <a:cubicBezTo>
                      <a:pt x="191034" y="152367"/>
                      <a:pt x="192744" y="153296"/>
                      <a:pt x="194581" y="153296"/>
                    </a:cubicBezTo>
                    <a:lnTo>
                      <a:pt x="215099" y="153296"/>
                    </a:lnTo>
                    <a:cubicBezTo>
                      <a:pt x="216911" y="153296"/>
                      <a:pt x="218607" y="152392"/>
                      <a:pt x="219612" y="150885"/>
                    </a:cubicBezTo>
                    <a:cubicBezTo>
                      <a:pt x="220613" y="149377"/>
                      <a:pt x="220801" y="147467"/>
                      <a:pt x="220111" y="145793"/>
                    </a:cubicBezTo>
                    <a:lnTo>
                      <a:pt x="210611" y="122925"/>
                    </a:lnTo>
                    <a:lnTo>
                      <a:pt x="210611" y="50238"/>
                    </a:lnTo>
                    <a:cubicBezTo>
                      <a:pt x="210611" y="47244"/>
                      <a:pt x="208181" y="44814"/>
                      <a:pt x="205187" y="44814"/>
                    </a:cubicBezTo>
                    <a:cubicBezTo>
                      <a:pt x="204938" y="44814"/>
                      <a:pt x="204703" y="44854"/>
                      <a:pt x="204460" y="44886"/>
                    </a:cubicBezTo>
                    <a:cubicBezTo>
                      <a:pt x="204026" y="44481"/>
                      <a:pt x="203546" y="44127"/>
                      <a:pt x="202985" y="43878"/>
                    </a:cubicBezTo>
                    <a:lnTo>
                      <a:pt x="105300" y="466"/>
                    </a:lnTo>
                    <a:cubicBezTo>
                      <a:pt x="103894" y="-155"/>
                      <a:pt x="102295" y="-155"/>
                      <a:pt x="100892" y="466"/>
                    </a:cubicBezTo>
                    <a:lnTo>
                      <a:pt x="3222" y="43878"/>
                    </a:lnTo>
                    <a:cubicBezTo>
                      <a:pt x="1262" y="44749"/>
                      <a:pt x="0" y="46691"/>
                      <a:pt x="0" y="48835"/>
                    </a:cubicBezTo>
                    <a:cubicBezTo>
                      <a:pt x="0" y="50979"/>
                      <a:pt x="1266" y="52918"/>
                      <a:pt x="3222" y="53789"/>
                    </a:cubicBezTo>
                    <a:close/>
                    <a:moveTo>
                      <a:pt x="163013" y="110052"/>
                    </a:moveTo>
                    <a:cubicBezTo>
                      <a:pt x="163013" y="143374"/>
                      <a:pt x="135903" y="170480"/>
                      <a:pt x="102585" y="170480"/>
                    </a:cubicBezTo>
                    <a:cubicBezTo>
                      <a:pt x="69266" y="170480"/>
                      <a:pt x="42160" y="143374"/>
                      <a:pt x="42160" y="110052"/>
                    </a:cubicBezTo>
                    <a:cubicBezTo>
                      <a:pt x="42160" y="97414"/>
                      <a:pt x="46192" y="85072"/>
                      <a:pt x="53518" y="74856"/>
                    </a:cubicBezTo>
                    <a:lnTo>
                      <a:pt x="100896" y="95913"/>
                    </a:lnTo>
                    <a:cubicBezTo>
                      <a:pt x="101597" y="96224"/>
                      <a:pt x="102350" y="96379"/>
                      <a:pt x="103098" y="96379"/>
                    </a:cubicBezTo>
                    <a:cubicBezTo>
                      <a:pt x="103847" y="96379"/>
                      <a:pt x="104599" y="96224"/>
                      <a:pt x="105300" y="95913"/>
                    </a:cubicBezTo>
                    <a:lnTo>
                      <a:pt x="151904" y="75204"/>
                    </a:lnTo>
                    <a:cubicBezTo>
                      <a:pt x="159071" y="85347"/>
                      <a:pt x="163013" y="97558"/>
                      <a:pt x="163013" y="110052"/>
                    </a:cubicBezTo>
                    <a:close/>
                    <a:moveTo>
                      <a:pt x="202927" y="142448"/>
                    </a:moveTo>
                    <a:lnTo>
                      <a:pt x="205021" y="137740"/>
                    </a:lnTo>
                    <a:lnTo>
                      <a:pt x="206977" y="142448"/>
                    </a:lnTo>
                    <a:lnTo>
                      <a:pt x="202927" y="142448"/>
                    </a:lnTo>
                    <a:close/>
                    <a:moveTo>
                      <a:pt x="103098" y="10071"/>
                    </a:moveTo>
                    <a:lnTo>
                      <a:pt x="187425" y="47544"/>
                    </a:lnTo>
                    <a:lnTo>
                      <a:pt x="103098" y="85018"/>
                    </a:lnTo>
                    <a:lnTo>
                      <a:pt x="18786" y="47544"/>
                    </a:lnTo>
                    <a:lnTo>
                      <a:pt x="103098" y="10071"/>
                    </a:lnTo>
                    <a:close/>
                  </a:path>
                </a:pathLst>
              </a:custGeom>
              <a:solidFill>
                <a:srgbClr val="000000"/>
              </a:solidFill>
              <a:ln w="3524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8" name="Рисунок 79">
                <a:extLst>
                  <a:ext uri="{FF2B5EF4-FFF2-40B4-BE49-F238E27FC236}">
                    <a16:creationId xmlns:a16="http://schemas.microsoft.com/office/drawing/2014/main" id="{E49F4816-D59C-41BC-93BF-2AE240D83F17}"/>
                  </a:ext>
                </a:extLst>
              </p:cNvPr>
              <p:cNvSpPr/>
              <p:nvPr/>
            </p:nvSpPr>
            <p:spPr>
              <a:xfrm>
                <a:off x="7345511" y="4251838"/>
                <a:ext cx="247318" cy="129086"/>
              </a:xfrm>
              <a:custGeom>
                <a:avLst/>
                <a:gdLst>
                  <a:gd name="connsiteX0" fmla="*/ 123663 w 247318"/>
                  <a:gd name="connsiteY0" fmla="*/ 0 h 129086"/>
                  <a:gd name="connsiteX1" fmla="*/ 0 w 247318"/>
                  <a:gd name="connsiteY1" fmla="*/ 123558 h 129086"/>
                  <a:gd name="connsiteX2" fmla="*/ 5424 w 247318"/>
                  <a:gd name="connsiteY2" fmla="*/ 129087 h 129086"/>
                  <a:gd name="connsiteX3" fmla="*/ 241894 w 247318"/>
                  <a:gd name="connsiteY3" fmla="*/ 129087 h 129086"/>
                  <a:gd name="connsiteX4" fmla="*/ 247318 w 247318"/>
                  <a:gd name="connsiteY4" fmla="*/ 123558 h 129086"/>
                  <a:gd name="connsiteX5" fmla="*/ 123663 w 247318"/>
                  <a:gd name="connsiteY5" fmla="*/ 0 h 129086"/>
                  <a:gd name="connsiteX6" fmla="*/ 10978 w 247318"/>
                  <a:gd name="connsiteY6" fmla="*/ 118239 h 129086"/>
                  <a:gd name="connsiteX7" fmla="*/ 123663 w 247318"/>
                  <a:gd name="connsiteY7" fmla="*/ 10848 h 129086"/>
                  <a:gd name="connsiteX8" fmla="*/ 236343 w 247318"/>
                  <a:gd name="connsiteY8" fmla="*/ 118239 h 129086"/>
                  <a:gd name="connsiteX9" fmla="*/ 10978 w 247318"/>
                  <a:gd name="connsiteY9" fmla="*/ 118239 h 129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7318" h="129086">
                    <a:moveTo>
                      <a:pt x="123663" y="0"/>
                    </a:moveTo>
                    <a:cubicBezTo>
                      <a:pt x="55510" y="0"/>
                      <a:pt x="58" y="55416"/>
                      <a:pt x="0" y="123558"/>
                    </a:cubicBezTo>
                    <a:cubicBezTo>
                      <a:pt x="-4" y="126592"/>
                      <a:pt x="2390" y="129087"/>
                      <a:pt x="5424" y="129087"/>
                    </a:cubicBezTo>
                    <a:lnTo>
                      <a:pt x="241894" y="129087"/>
                    </a:lnTo>
                    <a:cubicBezTo>
                      <a:pt x="244928" y="129087"/>
                      <a:pt x="247322" y="126595"/>
                      <a:pt x="247318" y="123558"/>
                    </a:cubicBezTo>
                    <a:cubicBezTo>
                      <a:pt x="247260" y="55416"/>
                      <a:pt x="191808" y="0"/>
                      <a:pt x="123663" y="0"/>
                    </a:cubicBezTo>
                    <a:close/>
                    <a:moveTo>
                      <a:pt x="10978" y="118239"/>
                    </a:moveTo>
                    <a:cubicBezTo>
                      <a:pt x="13821" y="58541"/>
                      <a:pt x="63274" y="10848"/>
                      <a:pt x="123663" y="10848"/>
                    </a:cubicBezTo>
                    <a:cubicBezTo>
                      <a:pt x="184048" y="10848"/>
                      <a:pt x="233501" y="58541"/>
                      <a:pt x="236343" y="118239"/>
                    </a:cubicBezTo>
                    <a:lnTo>
                      <a:pt x="10978" y="118239"/>
                    </a:lnTo>
                    <a:close/>
                  </a:path>
                </a:pathLst>
              </a:custGeom>
              <a:solidFill>
                <a:srgbClr val="000000"/>
              </a:solidFill>
              <a:ln w="3524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89" name="Группа 288">
            <a:extLst>
              <a:ext uri="{FF2B5EF4-FFF2-40B4-BE49-F238E27FC236}">
                <a16:creationId xmlns:a16="http://schemas.microsoft.com/office/drawing/2014/main" id="{CCC7711B-B18E-4236-B64C-C3C518B6485C}"/>
              </a:ext>
            </a:extLst>
          </p:cNvPr>
          <p:cNvGrpSpPr/>
          <p:nvPr/>
        </p:nvGrpSpPr>
        <p:grpSpPr>
          <a:xfrm>
            <a:off x="9374909" y="3487448"/>
            <a:ext cx="550305" cy="550305"/>
            <a:chOff x="9017838" y="5016400"/>
            <a:chExt cx="550305" cy="550305"/>
          </a:xfrm>
        </p:grpSpPr>
        <p:sp>
          <p:nvSpPr>
            <p:cNvPr id="290" name="Овал 289">
              <a:extLst>
                <a:ext uri="{FF2B5EF4-FFF2-40B4-BE49-F238E27FC236}">
                  <a16:creationId xmlns:a16="http://schemas.microsoft.com/office/drawing/2014/main" id="{B4D66DBA-FDD3-4285-8C1C-AE57FD6DDE43}"/>
                </a:ext>
              </a:extLst>
            </p:cNvPr>
            <p:cNvSpPr/>
            <p:nvPr/>
          </p:nvSpPr>
          <p:spPr>
            <a:xfrm>
              <a:off x="9017838" y="5016400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91" name="Рисунок 93">
              <a:extLst>
                <a:ext uri="{FF2B5EF4-FFF2-40B4-BE49-F238E27FC236}">
                  <a16:creationId xmlns:a16="http://schemas.microsoft.com/office/drawing/2014/main" id="{E2CBA62D-73EC-43C3-8C14-EBFFC17C475D}"/>
                </a:ext>
              </a:extLst>
            </p:cNvPr>
            <p:cNvGrpSpPr/>
            <p:nvPr/>
          </p:nvGrpSpPr>
          <p:grpSpPr>
            <a:xfrm>
              <a:off x="9120502" y="5170774"/>
              <a:ext cx="346420" cy="243723"/>
              <a:chOff x="9120502" y="5170774"/>
              <a:chExt cx="346420" cy="243724"/>
            </a:xfrm>
            <a:solidFill>
              <a:srgbClr val="231F20"/>
            </a:solidFill>
          </p:grpSpPr>
          <p:sp>
            <p:nvSpPr>
              <p:cNvPr id="292" name="Рисунок 93">
                <a:extLst>
                  <a:ext uri="{FF2B5EF4-FFF2-40B4-BE49-F238E27FC236}">
                    <a16:creationId xmlns:a16="http://schemas.microsoft.com/office/drawing/2014/main" id="{8F09C4DD-803A-4512-B844-EB3F12D569C5}"/>
                  </a:ext>
                </a:extLst>
              </p:cNvPr>
              <p:cNvSpPr/>
              <p:nvPr/>
            </p:nvSpPr>
            <p:spPr>
              <a:xfrm>
                <a:off x="9227177" y="5170774"/>
                <a:ext cx="133433" cy="142111"/>
              </a:xfrm>
              <a:custGeom>
                <a:avLst/>
                <a:gdLst>
                  <a:gd name="connsiteX0" fmla="*/ 10487 w 133433"/>
                  <a:gd name="connsiteY0" fmla="*/ 91125 h 142111"/>
                  <a:gd name="connsiteX1" fmla="*/ 10848 w 133433"/>
                  <a:gd name="connsiteY1" fmla="*/ 91125 h 142111"/>
                  <a:gd name="connsiteX2" fmla="*/ 66536 w 133433"/>
                  <a:gd name="connsiteY2" fmla="*/ 142112 h 142111"/>
                  <a:gd name="connsiteX3" fmla="*/ 122224 w 133433"/>
                  <a:gd name="connsiteY3" fmla="*/ 91125 h 142111"/>
                  <a:gd name="connsiteX4" fmla="*/ 122585 w 133433"/>
                  <a:gd name="connsiteY4" fmla="*/ 91125 h 142111"/>
                  <a:gd name="connsiteX5" fmla="*/ 133433 w 133433"/>
                  <a:gd name="connsiteY5" fmla="*/ 77384 h 142111"/>
                  <a:gd name="connsiteX6" fmla="*/ 127286 w 133433"/>
                  <a:gd name="connsiteY6" fmla="*/ 65089 h 142111"/>
                  <a:gd name="connsiteX7" fmla="*/ 83531 w 133433"/>
                  <a:gd name="connsiteY7" fmla="*/ 11210 h 142111"/>
                  <a:gd name="connsiteX8" fmla="*/ 66536 w 133433"/>
                  <a:gd name="connsiteY8" fmla="*/ 0 h 142111"/>
                  <a:gd name="connsiteX9" fmla="*/ 49540 w 133433"/>
                  <a:gd name="connsiteY9" fmla="*/ 11210 h 142111"/>
                  <a:gd name="connsiteX10" fmla="*/ 6147 w 133433"/>
                  <a:gd name="connsiteY10" fmla="*/ 65089 h 142111"/>
                  <a:gd name="connsiteX11" fmla="*/ 0 w 133433"/>
                  <a:gd name="connsiteY11" fmla="*/ 77384 h 142111"/>
                  <a:gd name="connsiteX12" fmla="*/ 3254 w 133433"/>
                  <a:gd name="connsiteY12" fmla="*/ 86786 h 142111"/>
                  <a:gd name="connsiteX13" fmla="*/ 10487 w 133433"/>
                  <a:gd name="connsiteY13" fmla="*/ 91125 h 142111"/>
                  <a:gd name="connsiteX14" fmla="*/ 14826 w 133433"/>
                  <a:gd name="connsiteY14" fmla="*/ 64728 h 142111"/>
                  <a:gd name="connsiteX15" fmla="*/ 46647 w 133433"/>
                  <a:gd name="connsiteY15" fmla="*/ 22420 h 142111"/>
                  <a:gd name="connsiteX16" fmla="*/ 46647 w 133433"/>
                  <a:gd name="connsiteY16" fmla="*/ 64728 h 142111"/>
                  <a:gd name="connsiteX17" fmla="*/ 14826 w 133433"/>
                  <a:gd name="connsiteY17" fmla="*/ 64728 h 142111"/>
                  <a:gd name="connsiteX18" fmla="*/ 56772 w 133433"/>
                  <a:gd name="connsiteY18" fmla="*/ 64728 h 142111"/>
                  <a:gd name="connsiteX19" fmla="*/ 56772 w 133433"/>
                  <a:gd name="connsiteY19" fmla="*/ 18442 h 142111"/>
                  <a:gd name="connsiteX20" fmla="*/ 60389 w 133433"/>
                  <a:gd name="connsiteY20" fmla="*/ 11571 h 142111"/>
                  <a:gd name="connsiteX21" fmla="*/ 68344 w 133433"/>
                  <a:gd name="connsiteY21" fmla="*/ 10487 h 142111"/>
                  <a:gd name="connsiteX22" fmla="*/ 74130 w 133433"/>
                  <a:gd name="connsiteY22" fmla="*/ 18804 h 142111"/>
                  <a:gd name="connsiteX23" fmla="*/ 74130 w 133433"/>
                  <a:gd name="connsiteY23" fmla="*/ 64728 h 142111"/>
                  <a:gd name="connsiteX24" fmla="*/ 56772 w 133433"/>
                  <a:gd name="connsiteY24" fmla="*/ 64728 h 142111"/>
                  <a:gd name="connsiteX25" fmla="*/ 84255 w 133433"/>
                  <a:gd name="connsiteY25" fmla="*/ 64728 h 142111"/>
                  <a:gd name="connsiteX26" fmla="*/ 84255 w 133433"/>
                  <a:gd name="connsiteY26" fmla="*/ 22058 h 142111"/>
                  <a:gd name="connsiteX27" fmla="*/ 116438 w 133433"/>
                  <a:gd name="connsiteY27" fmla="*/ 64366 h 142111"/>
                  <a:gd name="connsiteX28" fmla="*/ 84255 w 133433"/>
                  <a:gd name="connsiteY28" fmla="*/ 64366 h 142111"/>
                  <a:gd name="connsiteX29" fmla="*/ 112098 w 133433"/>
                  <a:gd name="connsiteY29" fmla="*/ 91125 h 142111"/>
                  <a:gd name="connsiteX30" fmla="*/ 66536 w 133433"/>
                  <a:gd name="connsiteY30" fmla="*/ 132349 h 142111"/>
                  <a:gd name="connsiteX31" fmla="*/ 20973 w 133433"/>
                  <a:gd name="connsiteY31" fmla="*/ 91125 h 142111"/>
                  <a:gd name="connsiteX32" fmla="*/ 112098 w 133433"/>
                  <a:gd name="connsiteY32" fmla="*/ 91125 h 142111"/>
                  <a:gd name="connsiteX33" fmla="*/ 9402 w 133433"/>
                  <a:gd name="connsiteY33" fmla="*/ 77384 h 142111"/>
                  <a:gd name="connsiteX34" fmla="*/ 10125 w 133433"/>
                  <a:gd name="connsiteY34" fmla="*/ 74491 h 142111"/>
                  <a:gd name="connsiteX35" fmla="*/ 10487 w 133433"/>
                  <a:gd name="connsiteY35" fmla="*/ 74491 h 142111"/>
                  <a:gd name="connsiteX36" fmla="*/ 122585 w 133433"/>
                  <a:gd name="connsiteY36" fmla="*/ 74491 h 142111"/>
                  <a:gd name="connsiteX37" fmla="*/ 122947 w 133433"/>
                  <a:gd name="connsiteY37" fmla="*/ 74491 h 142111"/>
                  <a:gd name="connsiteX38" fmla="*/ 123670 w 133433"/>
                  <a:gd name="connsiteY38" fmla="*/ 77384 h 142111"/>
                  <a:gd name="connsiteX39" fmla="*/ 122585 w 133433"/>
                  <a:gd name="connsiteY39" fmla="*/ 81000 h 142111"/>
                  <a:gd name="connsiteX40" fmla="*/ 10487 w 133433"/>
                  <a:gd name="connsiteY40" fmla="*/ 81000 h 142111"/>
                  <a:gd name="connsiteX41" fmla="*/ 9402 w 133433"/>
                  <a:gd name="connsiteY41" fmla="*/ 77384 h 142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33433" h="142111">
                    <a:moveTo>
                      <a:pt x="10487" y="91125"/>
                    </a:moveTo>
                    <a:lnTo>
                      <a:pt x="10848" y="91125"/>
                    </a:lnTo>
                    <a:cubicBezTo>
                      <a:pt x="13379" y="119692"/>
                      <a:pt x="37607" y="142112"/>
                      <a:pt x="66536" y="142112"/>
                    </a:cubicBezTo>
                    <a:cubicBezTo>
                      <a:pt x="95465" y="142112"/>
                      <a:pt x="119692" y="119692"/>
                      <a:pt x="122224" y="91125"/>
                    </a:cubicBezTo>
                    <a:lnTo>
                      <a:pt x="122585" y="91125"/>
                    </a:lnTo>
                    <a:cubicBezTo>
                      <a:pt x="128732" y="91125"/>
                      <a:pt x="133433" y="84978"/>
                      <a:pt x="133433" y="77384"/>
                    </a:cubicBezTo>
                    <a:cubicBezTo>
                      <a:pt x="133433" y="71960"/>
                      <a:pt x="130902" y="67259"/>
                      <a:pt x="127286" y="65089"/>
                    </a:cubicBezTo>
                    <a:cubicBezTo>
                      <a:pt x="125478" y="39777"/>
                      <a:pt x="107759" y="18080"/>
                      <a:pt x="83531" y="11210"/>
                    </a:cubicBezTo>
                    <a:cubicBezTo>
                      <a:pt x="80639" y="4339"/>
                      <a:pt x="73768" y="0"/>
                      <a:pt x="66536" y="0"/>
                    </a:cubicBezTo>
                    <a:cubicBezTo>
                      <a:pt x="58942" y="0"/>
                      <a:pt x="52433" y="4339"/>
                      <a:pt x="49540" y="11210"/>
                    </a:cubicBezTo>
                    <a:cubicBezTo>
                      <a:pt x="25313" y="18442"/>
                      <a:pt x="7955" y="39777"/>
                      <a:pt x="6147" y="65089"/>
                    </a:cubicBezTo>
                    <a:cubicBezTo>
                      <a:pt x="2531" y="67259"/>
                      <a:pt x="0" y="71960"/>
                      <a:pt x="0" y="77384"/>
                    </a:cubicBezTo>
                    <a:cubicBezTo>
                      <a:pt x="0" y="81000"/>
                      <a:pt x="1085" y="84255"/>
                      <a:pt x="3254" y="86786"/>
                    </a:cubicBezTo>
                    <a:cubicBezTo>
                      <a:pt x="4701" y="89679"/>
                      <a:pt x="7594" y="91125"/>
                      <a:pt x="10487" y="91125"/>
                    </a:cubicBezTo>
                    <a:close/>
                    <a:moveTo>
                      <a:pt x="14826" y="64728"/>
                    </a:moveTo>
                    <a:cubicBezTo>
                      <a:pt x="16634" y="45924"/>
                      <a:pt x="28929" y="29290"/>
                      <a:pt x="46647" y="22420"/>
                    </a:cubicBezTo>
                    <a:lnTo>
                      <a:pt x="46647" y="64728"/>
                    </a:lnTo>
                    <a:lnTo>
                      <a:pt x="14826" y="64728"/>
                    </a:lnTo>
                    <a:close/>
                    <a:moveTo>
                      <a:pt x="56772" y="64728"/>
                    </a:moveTo>
                    <a:lnTo>
                      <a:pt x="56772" y="18442"/>
                    </a:lnTo>
                    <a:cubicBezTo>
                      <a:pt x="56772" y="15549"/>
                      <a:pt x="58219" y="13018"/>
                      <a:pt x="60389" y="11571"/>
                    </a:cubicBezTo>
                    <a:cubicBezTo>
                      <a:pt x="62558" y="9763"/>
                      <a:pt x="65451" y="9402"/>
                      <a:pt x="68344" y="10487"/>
                    </a:cubicBezTo>
                    <a:cubicBezTo>
                      <a:pt x="71598" y="11571"/>
                      <a:pt x="74130" y="15188"/>
                      <a:pt x="74130" y="18804"/>
                    </a:cubicBezTo>
                    <a:lnTo>
                      <a:pt x="74130" y="64728"/>
                    </a:lnTo>
                    <a:lnTo>
                      <a:pt x="56772" y="64728"/>
                    </a:lnTo>
                    <a:close/>
                    <a:moveTo>
                      <a:pt x="84255" y="64728"/>
                    </a:moveTo>
                    <a:lnTo>
                      <a:pt x="84255" y="22058"/>
                    </a:lnTo>
                    <a:cubicBezTo>
                      <a:pt x="101973" y="28929"/>
                      <a:pt x="114630" y="45563"/>
                      <a:pt x="116438" y="64366"/>
                    </a:cubicBezTo>
                    <a:lnTo>
                      <a:pt x="84255" y="64366"/>
                    </a:lnTo>
                    <a:close/>
                    <a:moveTo>
                      <a:pt x="112098" y="91125"/>
                    </a:moveTo>
                    <a:cubicBezTo>
                      <a:pt x="109567" y="114268"/>
                      <a:pt x="89679" y="132349"/>
                      <a:pt x="66536" y="132349"/>
                    </a:cubicBezTo>
                    <a:cubicBezTo>
                      <a:pt x="43393" y="132349"/>
                      <a:pt x="23505" y="114268"/>
                      <a:pt x="20973" y="91125"/>
                    </a:cubicBezTo>
                    <a:lnTo>
                      <a:pt x="112098" y="91125"/>
                    </a:lnTo>
                    <a:close/>
                    <a:moveTo>
                      <a:pt x="9402" y="77384"/>
                    </a:moveTo>
                    <a:cubicBezTo>
                      <a:pt x="9402" y="75938"/>
                      <a:pt x="9763" y="75214"/>
                      <a:pt x="10125" y="74491"/>
                    </a:cubicBezTo>
                    <a:cubicBezTo>
                      <a:pt x="10125" y="74491"/>
                      <a:pt x="10487" y="74491"/>
                      <a:pt x="10487" y="74491"/>
                    </a:cubicBezTo>
                    <a:lnTo>
                      <a:pt x="122585" y="74491"/>
                    </a:lnTo>
                    <a:cubicBezTo>
                      <a:pt x="122585" y="74491"/>
                      <a:pt x="122947" y="74491"/>
                      <a:pt x="122947" y="74491"/>
                    </a:cubicBezTo>
                    <a:cubicBezTo>
                      <a:pt x="123308" y="75214"/>
                      <a:pt x="123670" y="75938"/>
                      <a:pt x="123670" y="77384"/>
                    </a:cubicBezTo>
                    <a:cubicBezTo>
                      <a:pt x="123670" y="79554"/>
                      <a:pt x="122947" y="80639"/>
                      <a:pt x="122585" y="81000"/>
                    </a:cubicBezTo>
                    <a:lnTo>
                      <a:pt x="10487" y="81000"/>
                    </a:lnTo>
                    <a:cubicBezTo>
                      <a:pt x="10487" y="80639"/>
                      <a:pt x="9402" y="79554"/>
                      <a:pt x="9402" y="77384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3" name="Рисунок 93">
                <a:extLst>
                  <a:ext uri="{FF2B5EF4-FFF2-40B4-BE49-F238E27FC236}">
                    <a16:creationId xmlns:a16="http://schemas.microsoft.com/office/drawing/2014/main" id="{1CBC6561-F2A8-4E6D-94A1-8CE18C68B3A3}"/>
                  </a:ext>
                </a:extLst>
              </p:cNvPr>
              <p:cNvSpPr/>
              <p:nvPr/>
            </p:nvSpPr>
            <p:spPr>
              <a:xfrm>
                <a:off x="9144369" y="5264793"/>
                <a:ext cx="77384" cy="77384"/>
              </a:xfrm>
              <a:custGeom>
                <a:avLst/>
                <a:gdLst>
                  <a:gd name="connsiteX0" fmla="*/ 38692 w 77384"/>
                  <a:gd name="connsiteY0" fmla="*/ 77384 h 77384"/>
                  <a:gd name="connsiteX1" fmla="*/ 77384 w 77384"/>
                  <a:gd name="connsiteY1" fmla="*/ 38692 h 77384"/>
                  <a:gd name="connsiteX2" fmla="*/ 38692 w 77384"/>
                  <a:gd name="connsiteY2" fmla="*/ 0 h 77384"/>
                  <a:gd name="connsiteX3" fmla="*/ 0 w 77384"/>
                  <a:gd name="connsiteY3" fmla="*/ 38692 h 77384"/>
                  <a:gd name="connsiteX4" fmla="*/ 38692 w 77384"/>
                  <a:gd name="connsiteY4" fmla="*/ 77384 h 77384"/>
                  <a:gd name="connsiteX5" fmla="*/ 38692 w 77384"/>
                  <a:gd name="connsiteY5" fmla="*/ 11210 h 77384"/>
                  <a:gd name="connsiteX6" fmla="*/ 66536 w 77384"/>
                  <a:gd name="connsiteY6" fmla="*/ 39054 h 77384"/>
                  <a:gd name="connsiteX7" fmla="*/ 38692 w 77384"/>
                  <a:gd name="connsiteY7" fmla="*/ 66536 h 77384"/>
                  <a:gd name="connsiteX8" fmla="*/ 10848 w 77384"/>
                  <a:gd name="connsiteY8" fmla="*/ 38692 h 77384"/>
                  <a:gd name="connsiteX9" fmla="*/ 38692 w 77384"/>
                  <a:gd name="connsiteY9" fmla="*/ 11210 h 77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384" h="77384">
                    <a:moveTo>
                      <a:pt x="38692" y="77384"/>
                    </a:moveTo>
                    <a:cubicBezTo>
                      <a:pt x="60027" y="77384"/>
                      <a:pt x="77384" y="60027"/>
                      <a:pt x="77384" y="38692"/>
                    </a:cubicBezTo>
                    <a:cubicBezTo>
                      <a:pt x="77384" y="17357"/>
                      <a:pt x="60027" y="0"/>
                      <a:pt x="38692" y="0"/>
                    </a:cubicBezTo>
                    <a:cubicBezTo>
                      <a:pt x="17357" y="0"/>
                      <a:pt x="0" y="17357"/>
                      <a:pt x="0" y="38692"/>
                    </a:cubicBezTo>
                    <a:cubicBezTo>
                      <a:pt x="0" y="60027"/>
                      <a:pt x="17357" y="77384"/>
                      <a:pt x="38692" y="77384"/>
                    </a:cubicBezTo>
                    <a:close/>
                    <a:moveTo>
                      <a:pt x="38692" y="11210"/>
                    </a:moveTo>
                    <a:cubicBezTo>
                      <a:pt x="54241" y="11210"/>
                      <a:pt x="66536" y="23866"/>
                      <a:pt x="66536" y="39054"/>
                    </a:cubicBezTo>
                    <a:cubicBezTo>
                      <a:pt x="66536" y="54241"/>
                      <a:pt x="54241" y="66536"/>
                      <a:pt x="38692" y="66536"/>
                    </a:cubicBezTo>
                    <a:cubicBezTo>
                      <a:pt x="23143" y="66536"/>
                      <a:pt x="10848" y="53880"/>
                      <a:pt x="10848" y="38692"/>
                    </a:cubicBezTo>
                    <a:cubicBezTo>
                      <a:pt x="10848" y="23505"/>
                      <a:pt x="23143" y="11210"/>
                      <a:pt x="38692" y="11210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4" name="Рисунок 93">
                <a:extLst>
                  <a:ext uri="{FF2B5EF4-FFF2-40B4-BE49-F238E27FC236}">
                    <a16:creationId xmlns:a16="http://schemas.microsoft.com/office/drawing/2014/main" id="{157E3C0F-EF00-4617-B8C6-DED0AD7E8892}"/>
                  </a:ext>
                </a:extLst>
              </p:cNvPr>
              <p:cNvSpPr/>
              <p:nvPr/>
            </p:nvSpPr>
            <p:spPr>
              <a:xfrm>
                <a:off x="9366396" y="5265154"/>
                <a:ext cx="77384" cy="77022"/>
              </a:xfrm>
              <a:custGeom>
                <a:avLst/>
                <a:gdLst>
                  <a:gd name="connsiteX0" fmla="*/ 38692 w 77384"/>
                  <a:gd name="connsiteY0" fmla="*/ 77023 h 77022"/>
                  <a:gd name="connsiteX1" fmla="*/ 77384 w 77384"/>
                  <a:gd name="connsiteY1" fmla="*/ 38330 h 77022"/>
                  <a:gd name="connsiteX2" fmla="*/ 38692 w 77384"/>
                  <a:gd name="connsiteY2" fmla="*/ 0 h 77022"/>
                  <a:gd name="connsiteX3" fmla="*/ 0 w 77384"/>
                  <a:gd name="connsiteY3" fmla="*/ 38692 h 77022"/>
                  <a:gd name="connsiteX4" fmla="*/ 38692 w 77384"/>
                  <a:gd name="connsiteY4" fmla="*/ 77023 h 77022"/>
                  <a:gd name="connsiteX5" fmla="*/ 38692 w 77384"/>
                  <a:gd name="connsiteY5" fmla="*/ 10848 h 77022"/>
                  <a:gd name="connsiteX6" fmla="*/ 66536 w 77384"/>
                  <a:gd name="connsiteY6" fmla="*/ 38692 h 77022"/>
                  <a:gd name="connsiteX7" fmla="*/ 38692 w 77384"/>
                  <a:gd name="connsiteY7" fmla="*/ 66174 h 77022"/>
                  <a:gd name="connsiteX8" fmla="*/ 10848 w 77384"/>
                  <a:gd name="connsiteY8" fmla="*/ 38330 h 77022"/>
                  <a:gd name="connsiteX9" fmla="*/ 38692 w 77384"/>
                  <a:gd name="connsiteY9" fmla="*/ 10848 h 77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384" h="77022">
                    <a:moveTo>
                      <a:pt x="38692" y="77023"/>
                    </a:moveTo>
                    <a:cubicBezTo>
                      <a:pt x="60027" y="77023"/>
                      <a:pt x="77384" y="59665"/>
                      <a:pt x="77384" y="38330"/>
                    </a:cubicBezTo>
                    <a:cubicBezTo>
                      <a:pt x="77384" y="16996"/>
                      <a:pt x="60027" y="0"/>
                      <a:pt x="38692" y="0"/>
                    </a:cubicBezTo>
                    <a:cubicBezTo>
                      <a:pt x="17357" y="0"/>
                      <a:pt x="0" y="17357"/>
                      <a:pt x="0" y="38692"/>
                    </a:cubicBezTo>
                    <a:cubicBezTo>
                      <a:pt x="0" y="60027"/>
                      <a:pt x="17357" y="77023"/>
                      <a:pt x="38692" y="77023"/>
                    </a:cubicBezTo>
                    <a:close/>
                    <a:moveTo>
                      <a:pt x="38692" y="10848"/>
                    </a:moveTo>
                    <a:cubicBezTo>
                      <a:pt x="54241" y="10848"/>
                      <a:pt x="66536" y="23505"/>
                      <a:pt x="66536" y="38692"/>
                    </a:cubicBezTo>
                    <a:cubicBezTo>
                      <a:pt x="66536" y="53880"/>
                      <a:pt x="54241" y="66174"/>
                      <a:pt x="38692" y="66174"/>
                    </a:cubicBezTo>
                    <a:cubicBezTo>
                      <a:pt x="23143" y="66174"/>
                      <a:pt x="10848" y="53518"/>
                      <a:pt x="10848" y="38330"/>
                    </a:cubicBezTo>
                    <a:cubicBezTo>
                      <a:pt x="10848" y="23143"/>
                      <a:pt x="23143" y="10848"/>
                      <a:pt x="38692" y="10848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5" name="Рисунок 93">
                <a:extLst>
                  <a:ext uri="{FF2B5EF4-FFF2-40B4-BE49-F238E27FC236}">
                    <a16:creationId xmlns:a16="http://schemas.microsoft.com/office/drawing/2014/main" id="{04E720D0-7F1D-4E24-B82D-E00E38C3C6D1}"/>
                  </a:ext>
                </a:extLst>
              </p:cNvPr>
              <p:cNvSpPr/>
              <p:nvPr/>
            </p:nvSpPr>
            <p:spPr>
              <a:xfrm>
                <a:off x="9120502" y="5319757"/>
                <a:ext cx="346420" cy="94741"/>
              </a:xfrm>
              <a:custGeom>
                <a:avLst/>
                <a:gdLst>
                  <a:gd name="connsiteX0" fmla="*/ 328340 w 346420"/>
                  <a:gd name="connsiteY0" fmla="*/ 41585 h 94741"/>
                  <a:gd name="connsiteX1" fmla="*/ 284224 w 346420"/>
                  <a:gd name="connsiteY1" fmla="*/ 23143 h 94741"/>
                  <a:gd name="connsiteX2" fmla="*/ 244085 w 346420"/>
                  <a:gd name="connsiteY2" fmla="*/ 37969 h 94741"/>
                  <a:gd name="connsiteX3" fmla="*/ 173572 w 346420"/>
                  <a:gd name="connsiteY3" fmla="*/ 0 h 94741"/>
                  <a:gd name="connsiteX4" fmla="*/ 102697 w 346420"/>
                  <a:gd name="connsiteY4" fmla="*/ 38330 h 94741"/>
                  <a:gd name="connsiteX5" fmla="*/ 62197 w 346420"/>
                  <a:gd name="connsiteY5" fmla="*/ 23505 h 94741"/>
                  <a:gd name="connsiteX6" fmla="*/ 0 w 346420"/>
                  <a:gd name="connsiteY6" fmla="*/ 85701 h 94741"/>
                  <a:gd name="connsiteX7" fmla="*/ 0 w 346420"/>
                  <a:gd name="connsiteY7" fmla="*/ 94741 h 94741"/>
                  <a:gd name="connsiteX8" fmla="*/ 90040 w 346420"/>
                  <a:gd name="connsiteY8" fmla="*/ 94741 h 94741"/>
                  <a:gd name="connsiteX9" fmla="*/ 99804 w 346420"/>
                  <a:gd name="connsiteY9" fmla="*/ 94741 h 94741"/>
                  <a:gd name="connsiteX10" fmla="*/ 245532 w 346420"/>
                  <a:gd name="connsiteY10" fmla="*/ 94741 h 94741"/>
                  <a:gd name="connsiteX11" fmla="*/ 257827 w 346420"/>
                  <a:gd name="connsiteY11" fmla="*/ 94741 h 94741"/>
                  <a:gd name="connsiteX12" fmla="*/ 346420 w 346420"/>
                  <a:gd name="connsiteY12" fmla="*/ 94741 h 94741"/>
                  <a:gd name="connsiteX13" fmla="*/ 346420 w 346420"/>
                  <a:gd name="connsiteY13" fmla="*/ 85701 h 94741"/>
                  <a:gd name="connsiteX14" fmla="*/ 328340 w 346420"/>
                  <a:gd name="connsiteY14" fmla="*/ 41585 h 94741"/>
                  <a:gd name="connsiteX15" fmla="*/ 10848 w 346420"/>
                  <a:gd name="connsiteY15" fmla="*/ 83531 h 94741"/>
                  <a:gd name="connsiteX16" fmla="*/ 62197 w 346420"/>
                  <a:gd name="connsiteY16" fmla="*/ 33991 h 94741"/>
                  <a:gd name="connsiteX17" fmla="*/ 97273 w 346420"/>
                  <a:gd name="connsiteY17" fmla="*/ 47371 h 94741"/>
                  <a:gd name="connsiteX18" fmla="*/ 88956 w 346420"/>
                  <a:gd name="connsiteY18" fmla="*/ 83531 h 94741"/>
                  <a:gd name="connsiteX19" fmla="*/ 10848 w 346420"/>
                  <a:gd name="connsiteY19" fmla="*/ 83531 h 94741"/>
                  <a:gd name="connsiteX20" fmla="*/ 99804 w 346420"/>
                  <a:gd name="connsiteY20" fmla="*/ 83531 h 94741"/>
                  <a:gd name="connsiteX21" fmla="*/ 173572 w 346420"/>
                  <a:gd name="connsiteY21" fmla="*/ 10848 h 94741"/>
                  <a:gd name="connsiteX22" fmla="*/ 237215 w 346420"/>
                  <a:gd name="connsiteY22" fmla="*/ 47371 h 94741"/>
                  <a:gd name="connsiteX23" fmla="*/ 238300 w 346420"/>
                  <a:gd name="connsiteY23" fmla="*/ 49179 h 94741"/>
                  <a:gd name="connsiteX24" fmla="*/ 246978 w 346420"/>
                  <a:gd name="connsiteY24" fmla="*/ 83531 h 94741"/>
                  <a:gd name="connsiteX25" fmla="*/ 99804 w 346420"/>
                  <a:gd name="connsiteY25" fmla="*/ 83531 h 94741"/>
                  <a:gd name="connsiteX26" fmla="*/ 258188 w 346420"/>
                  <a:gd name="connsiteY26" fmla="*/ 83531 h 94741"/>
                  <a:gd name="connsiteX27" fmla="*/ 249871 w 346420"/>
                  <a:gd name="connsiteY27" fmla="*/ 47371 h 94741"/>
                  <a:gd name="connsiteX28" fmla="*/ 284586 w 346420"/>
                  <a:gd name="connsiteY28" fmla="*/ 33991 h 94741"/>
                  <a:gd name="connsiteX29" fmla="*/ 320746 w 346420"/>
                  <a:gd name="connsiteY29" fmla="*/ 49179 h 94741"/>
                  <a:gd name="connsiteX30" fmla="*/ 335572 w 346420"/>
                  <a:gd name="connsiteY30" fmla="*/ 83531 h 94741"/>
                  <a:gd name="connsiteX31" fmla="*/ 258188 w 346420"/>
                  <a:gd name="connsiteY31" fmla="*/ 83531 h 94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46420" h="94741">
                    <a:moveTo>
                      <a:pt x="328340" y="41585"/>
                    </a:moveTo>
                    <a:cubicBezTo>
                      <a:pt x="316769" y="29652"/>
                      <a:pt x="300858" y="23143"/>
                      <a:pt x="284224" y="23143"/>
                    </a:cubicBezTo>
                    <a:cubicBezTo>
                      <a:pt x="269398" y="23143"/>
                      <a:pt x="255295" y="28205"/>
                      <a:pt x="244085" y="37969"/>
                    </a:cubicBezTo>
                    <a:cubicBezTo>
                      <a:pt x="228898" y="15188"/>
                      <a:pt x="202862" y="0"/>
                      <a:pt x="173572" y="0"/>
                    </a:cubicBezTo>
                    <a:cubicBezTo>
                      <a:pt x="143920" y="0"/>
                      <a:pt x="117884" y="15188"/>
                      <a:pt x="102697" y="38330"/>
                    </a:cubicBezTo>
                    <a:cubicBezTo>
                      <a:pt x="91487" y="28929"/>
                      <a:pt x="77384" y="23505"/>
                      <a:pt x="62197" y="23505"/>
                    </a:cubicBezTo>
                    <a:cubicBezTo>
                      <a:pt x="27844" y="23505"/>
                      <a:pt x="0" y="51348"/>
                      <a:pt x="0" y="85701"/>
                    </a:cubicBezTo>
                    <a:lnTo>
                      <a:pt x="0" y="94741"/>
                    </a:lnTo>
                    <a:lnTo>
                      <a:pt x="90040" y="94741"/>
                    </a:lnTo>
                    <a:lnTo>
                      <a:pt x="99804" y="94741"/>
                    </a:lnTo>
                    <a:lnTo>
                      <a:pt x="245532" y="94741"/>
                    </a:lnTo>
                    <a:lnTo>
                      <a:pt x="257827" y="94741"/>
                    </a:lnTo>
                    <a:lnTo>
                      <a:pt x="346420" y="94741"/>
                    </a:lnTo>
                    <a:lnTo>
                      <a:pt x="346420" y="85701"/>
                    </a:lnTo>
                    <a:cubicBezTo>
                      <a:pt x="346420" y="68706"/>
                      <a:pt x="340273" y="53156"/>
                      <a:pt x="328340" y="41585"/>
                    </a:cubicBezTo>
                    <a:close/>
                    <a:moveTo>
                      <a:pt x="10848" y="83531"/>
                    </a:moveTo>
                    <a:cubicBezTo>
                      <a:pt x="11933" y="56049"/>
                      <a:pt x="34353" y="33991"/>
                      <a:pt x="62197" y="33991"/>
                    </a:cubicBezTo>
                    <a:cubicBezTo>
                      <a:pt x="75214" y="33991"/>
                      <a:pt x="87871" y="38692"/>
                      <a:pt x="97273" y="47371"/>
                    </a:cubicBezTo>
                    <a:cubicBezTo>
                      <a:pt x="92210" y="58581"/>
                      <a:pt x="89317" y="70875"/>
                      <a:pt x="88956" y="83531"/>
                    </a:cubicBezTo>
                    <a:lnTo>
                      <a:pt x="10848" y="83531"/>
                    </a:lnTo>
                    <a:close/>
                    <a:moveTo>
                      <a:pt x="99804" y="83531"/>
                    </a:moveTo>
                    <a:cubicBezTo>
                      <a:pt x="99804" y="43393"/>
                      <a:pt x="133072" y="10848"/>
                      <a:pt x="173572" y="10848"/>
                    </a:cubicBezTo>
                    <a:cubicBezTo>
                      <a:pt x="200692" y="10848"/>
                      <a:pt x="224559" y="25674"/>
                      <a:pt x="237215" y="47371"/>
                    </a:cubicBezTo>
                    <a:lnTo>
                      <a:pt x="238300" y="49179"/>
                    </a:lnTo>
                    <a:cubicBezTo>
                      <a:pt x="244085" y="60027"/>
                      <a:pt x="246978" y="71598"/>
                      <a:pt x="246978" y="83531"/>
                    </a:cubicBezTo>
                    <a:lnTo>
                      <a:pt x="99804" y="83531"/>
                    </a:lnTo>
                    <a:close/>
                    <a:moveTo>
                      <a:pt x="258188" y="83531"/>
                    </a:moveTo>
                    <a:cubicBezTo>
                      <a:pt x="258188" y="70514"/>
                      <a:pt x="255295" y="58581"/>
                      <a:pt x="249871" y="47371"/>
                    </a:cubicBezTo>
                    <a:cubicBezTo>
                      <a:pt x="259273" y="38692"/>
                      <a:pt x="271568" y="33991"/>
                      <a:pt x="284586" y="33991"/>
                    </a:cubicBezTo>
                    <a:cubicBezTo>
                      <a:pt x="298327" y="33991"/>
                      <a:pt x="311345" y="39415"/>
                      <a:pt x="320746" y="49179"/>
                    </a:cubicBezTo>
                    <a:cubicBezTo>
                      <a:pt x="329787" y="58581"/>
                      <a:pt x="335211" y="70514"/>
                      <a:pt x="335572" y="83531"/>
                    </a:cubicBezTo>
                    <a:lnTo>
                      <a:pt x="258188" y="83531"/>
                    </a:ln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96" name="Группа 295">
            <a:extLst>
              <a:ext uri="{FF2B5EF4-FFF2-40B4-BE49-F238E27FC236}">
                <a16:creationId xmlns:a16="http://schemas.microsoft.com/office/drawing/2014/main" id="{0E7B95BF-C7F3-4A9A-9210-ED91C75E551C}"/>
              </a:ext>
            </a:extLst>
          </p:cNvPr>
          <p:cNvGrpSpPr/>
          <p:nvPr/>
        </p:nvGrpSpPr>
        <p:grpSpPr>
          <a:xfrm>
            <a:off x="7133792" y="3403372"/>
            <a:ext cx="756711" cy="734387"/>
            <a:chOff x="5373490" y="5016400"/>
            <a:chExt cx="550305" cy="550305"/>
          </a:xfrm>
        </p:grpSpPr>
        <p:sp>
          <p:nvSpPr>
            <p:cNvPr id="297" name="Овал 296">
              <a:extLst>
                <a:ext uri="{FF2B5EF4-FFF2-40B4-BE49-F238E27FC236}">
                  <a16:creationId xmlns:a16="http://schemas.microsoft.com/office/drawing/2014/main" id="{2D4BB4F1-94C1-49D2-8B15-9AC07E9B9D71}"/>
                </a:ext>
              </a:extLst>
            </p:cNvPr>
            <p:cNvSpPr/>
            <p:nvPr/>
          </p:nvSpPr>
          <p:spPr>
            <a:xfrm>
              <a:off x="5373490" y="5016400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accent3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98" name="Рисунок 85">
              <a:extLst>
                <a:ext uri="{FF2B5EF4-FFF2-40B4-BE49-F238E27FC236}">
                  <a16:creationId xmlns:a16="http://schemas.microsoft.com/office/drawing/2014/main" id="{FAB211D1-5986-4BFD-9BBC-2138F8BC5210}"/>
                </a:ext>
              </a:extLst>
            </p:cNvPr>
            <p:cNvGrpSpPr/>
            <p:nvPr/>
          </p:nvGrpSpPr>
          <p:grpSpPr>
            <a:xfrm>
              <a:off x="5476098" y="5130146"/>
              <a:ext cx="341524" cy="310559"/>
              <a:chOff x="5476098" y="5130146"/>
              <a:chExt cx="341524" cy="310559"/>
            </a:xfrm>
            <a:solidFill>
              <a:srgbClr val="000000"/>
            </a:solidFill>
          </p:grpSpPr>
          <p:sp>
            <p:nvSpPr>
              <p:cNvPr id="299" name="Рисунок 85">
                <a:extLst>
                  <a:ext uri="{FF2B5EF4-FFF2-40B4-BE49-F238E27FC236}">
                    <a16:creationId xmlns:a16="http://schemas.microsoft.com/office/drawing/2014/main" id="{A57C14B3-F8A2-43B9-BEA1-43C8A3D890A7}"/>
                  </a:ext>
                </a:extLst>
              </p:cNvPr>
              <p:cNvSpPr/>
              <p:nvPr/>
            </p:nvSpPr>
            <p:spPr>
              <a:xfrm>
                <a:off x="5507504" y="5224709"/>
                <a:ext cx="276811" cy="173815"/>
              </a:xfrm>
              <a:custGeom>
                <a:avLst/>
                <a:gdLst>
                  <a:gd name="connsiteX0" fmla="*/ 5179 w 276811"/>
                  <a:gd name="connsiteY0" fmla="*/ 163458 h 173815"/>
                  <a:gd name="connsiteX1" fmla="*/ 0 w 276811"/>
                  <a:gd name="connsiteY1" fmla="*/ 168637 h 173815"/>
                  <a:gd name="connsiteX2" fmla="*/ 5179 w 276811"/>
                  <a:gd name="connsiteY2" fmla="*/ 173816 h 173815"/>
                  <a:gd name="connsiteX3" fmla="*/ 271632 w 276811"/>
                  <a:gd name="connsiteY3" fmla="*/ 173816 h 173815"/>
                  <a:gd name="connsiteX4" fmla="*/ 276812 w 276811"/>
                  <a:gd name="connsiteY4" fmla="*/ 168637 h 173815"/>
                  <a:gd name="connsiteX5" fmla="*/ 271632 w 276811"/>
                  <a:gd name="connsiteY5" fmla="*/ 163458 h 173815"/>
                  <a:gd name="connsiteX6" fmla="*/ 242729 w 276811"/>
                  <a:gd name="connsiteY6" fmla="*/ 163458 h 173815"/>
                  <a:gd name="connsiteX7" fmla="*/ 242729 w 276811"/>
                  <a:gd name="connsiteY7" fmla="*/ 10590 h 173815"/>
                  <a:gd name="connsiteX8" fmla="*/ 271632 w 276811"/>
                  <a:gd name="connsiteY8" fmla="*/ 10590 h 173815"/>
                  <a:gd name="connsiteX9" fmla="*/ 276812 w 276811"/>
                  <a:gd name="connsiteY9" fmla="*/ 5411 h 173815"/>
                  <a:gd name="connsiteX10" fmla="*/ 271632 w 276811"/>
                  <a:gd name="connsiteY10" fmla="*/ 232 h 173815"/>
                  <a:gd name="connsiteX11" fmla="*/ 34852 w 276811"/>
                  <a:gd name="connsiteY11" fmla="*/ 232 h 173815"/>
                  <a:gd name="connsiteX12" fmla="*/ 33405 w 276811"/>
                  <a:gd name="connsiteY12" fmla="*/ 0 h 173815"/>
                  <a:gd name="connsiteX13" fmla="*/ 31958 w 276811"/>
                  <a:gd name="connsiteY13" fmla="*/ 232 h 173815"/>
                  <a:gd name="connsiteX14" fmla="*/ 5179 w 276811"/>
                  <a:gd name="connsiteY14" fmla="*/ 232 h 173815"/>
                  <a:gd name="connsiteX15" fmla="*/ 0 w 276811"/>
                  <a:gd name="connsiteY15" fmla="*/ 5411 h 173815"/>
                  <a:gd name="connsiteX16" fmla="*/ 5179 w 276811"/>
                  <a:gd name="connsiteY16" fmla="*/ 10590 h 173815"/>
                  <a:gd name="connsiteX17" fmla="*/ 28248 w 276811"/>
                  <a:gd name="connsiteY17" fmla="*/ 10590 h 173815"/>
                  <a:gd name="connsiteX18" fmla="*/ 28248 w 276811"/>
                  <a:gd name="connsiteY18" fmla="*/ 163458 h 173815"/>
                  <a:gd name="connsiteX19" fmla="*/ 5179 w 276811"/>
                  <a:gd name="connsiteY19" fmla="*/ 163458 h 173815"/>
                  <a:gd name="connsiteX20" fmla="*/ 108724 w 276811"/>
                  <a:gd name="connsiteY20" fmla="*/ 163458 h 173815"/>
                  <a:gd name="connsiteX21" fmla="*/ 108724 w 276811"/>
                  <a:gd name="connsiteY21" fmla="*/ 10590 h 173815"/>
                  <a:gd name="connsiteX22" fmla="*/ 165953 w 276811"/>
                  <a:gd name="connsiteY22" fmla="*/ 10590 h 173815"/>
                  <a:gd name="connsiteX23" fmla="*/ 165953 w 276811"/>
                  <a:gd name="connsiteY23" fmla="*/ 163458 h 173815"/>
                  <a:gd name="connsiteX24" fmla="*/ 108724 w 276811"/>
                  <a:gd name="connsiteY24" fmla="*/ 163458 h 173815"/>
                  <a:gd name="connsiteX25" fmla="*/ 232371 w 276811"/>
                  <a:gd name="connsiteY25" fmla="*/ 163458 h 173815"/>
                  <a:gd name="connsiteX26" fmla="*/ 176311 w 276811"/>
                  <a:gd name="connsiteY26" fmla="*/ 163458 h 173815"/>
                  <a:gd name="connsiteX27" fmla="*/ 176311 w 276811"/>
                  <a:gd name="connsiteY27" fmla="*/ 10590 h 173815"/>
                  <a:gd name="connsiteX28" fmla="*/ 232371 w 276811"/>
                  <a:gd name="connsiteY28" fmla="*/ 10590 h 173815"/>
                  <a:gd name="connsiteX29" fmla="*/ 232371 w 276811"/>
                  <a:gd name="connsiteY29" fmla="*/ 163458 h 173815"/>
                  <a:gd name="connsiteX30" fmla="*/ 38563 w 276811"/>
                  <a:gd name="connsiteY30" fmla="*/ 10590 h 173815"/>
                  <a:gd name="connsiteX31" fmla="*/ 98366 w 276811"/>
                  <a:gd name="connsiteY31" fmla="*/ 10590 h 173815"/>
                  <a:gd name="connsiteX32" fmla="*/ 98366 w 276811"/>
                  <a:gd name="connsiteY32" fmla="*/ 163458 h 173815"/>
                  <a:gd name="connsiteX33" fmla="*/ 38563 w 276811"/>
                  <a:gd name="connsiteY33" fmla="*/ 163458 h 173815"/>
                  <a:gd name="connsiteX34" fmla="*/ 38563 w 276811"/>
                  <a:gd name="connsiteY34" fmla="*/ 10590 h 173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276811" h="173815">
                    <a:moveTo>
                      <a:pt x="5179" y="163458"/>
                    </a:moveTo>
                    <a:cubicBezTo>
                      <a:pt x="2317" y="163458"/>
                      <a:pt x="0" y="165775"/>
                      <a:pt x="0" y="168637"/>
                    </a:cubicBezTo>
                    <a:cubicBezTo>
                      <a:pt x="0" y="171499"/>
                      <a:pt x="2317" y="173816"/>
                      <a:pt x="5179" y="173816"/>
                    </a:cubicBezTo>
                    <a:lnTo>
                      <a:pt x="271632" y="173816"/>
                    </a:lnTo>
                    <a:cubicBezTo>
                      <a:pt x="274495" y="173816"/>
                      <a:pt x="276812" y="171499"/>
                      <a:pt x="276812" y="168637"/>
                    </a:cubicBezTo>
                    <a:cubicBezTo>
                      <a:pt x="276812" y="165775"/>
                      <a:pt x="274495" y="163458"/>
                      <a:pt x="271632" y="163458"/>
                    </a:cubicBezTo>
                    <a:lnTo>
                      <a:pt x="242729" y="163458"/>
                    </a:lnTo>
                    <a:lnTo>
                      <a:pt x="242729" y="10590"/>
                    </a:lnTo>
                    <a:lnTo>
                      <a:pt x="271632" y="10590"/>
                    </a:lnTo>
                    <a:cubicBezTo>
                      <a:pt x="274495" y="10590"/>
                      <a:pt x="276812" y="8273"/>
                      <a:pt x="276812" y="5411"/>
                    </a:cubicBezTo>
                    <a:cubicBezTo>
                      <a:pt x="276812" y="2549"/>
                      <a:pt x="274495" y="232"/>
                      <a:pt x="271632" y="232"/>
                    </a:cubicBezTo>
                    <a:lnTo>
                      <a:pt x="34852" y="232"/>
                    </a:lnTo>
                    <a:cubicBezTo>
                      <a:pt x="34389" y="96"/>
                      <a:pt x="33911" y="0"/>
                      <a:pt x="33405" y="0"/>
                    </a:cubicBezTo>
                    <a:cubicBezTo>
                      <a:pt x="32899" y="0"/>
                      <a:pt x="32418" y="96"/>
                      <a:pt x="31958" y="232"/>
                    </a:cubicBezTo>
                    <a:lnTo>
                      <a:pt x="5179" y="232"/>
                    </a:lnTo>
                    <a:cubicBezTo>
                      <a:pt x="2317" y="232"/>
                      <a:pt x="0" y="2549"/>
                      <a:pt x="0" y="5411"/>
                    </a:cubicBezTo>
                    <a:cubicBezTo>
                      <a:pt x="0" y="8273"/>
                      <a:pt x="2317" y="10590"/>
                      <a:pt x="5179" y="10590"/>
                    </a:cubicBezTo>
                    <a:lnTo>
                      <a:pt x="28248" y="10590"/>
                    </a:lnTo>
                    <a:lnTo>
                      <a:pt x="28248" y="163458"/>
                    </a:lnTo>
                    <a:lnTo>
                      <a:pt x="5179" y="163458"/>
                    </a:lnTo>
                    <a:close/>
                    <a:moveTo>
                      <a:pt x="108724" y="163458"/>
                    </a:moveTo>
                    <a:lnTo>
                      <a:pt x="108724" y="10590"/>
                    </a:lnTo>
                    <a:lnTo>
                      <a:pt x="165953" y="10590"/>
                    </a:lnTo>
                    <a:lnTo>
                      <a:pt x="165953" y="163458"/>
                    </a:lnTo>
                    <a:lnTo>
                      <a:pt x="108724" y="163458"/>
                    </a:lnTo>
                    <a:close/>
                    <a:moveTo>
                      <a:pt x="232371" y="163458"/>
                    </a:moveTo>
                    <a:lnTo>
                      <a:pt x="176311" y="163458"/>
                    </a:lnTo>
                    <a:lnTo>
                      <a:pt x="176311" y="10590"/>
                    </a:lnTo>
                    <a:lnTo>
                      <a:pt x="232371" y="10590"/>
                    </a:lnTo>
                    <a:lnTo>
                      <a:pt x="232371" y="163458"/>
                    </a:lnTo>
                    <a:close/>
                    <a:moveTo>
                      <a:pt x="38563" y="10590"/>
                    </a:moveTo>
                    <a:lnTo>
                      <a:pt x="98366" y="10590"/>
                    </a:lnTo>
                    <a:lnTo>
                      <a:pt x="98366" y="163458"/>
                    </a:lnTo>
                    <a:lnTo>
                      <a:pt x="38563" y="163458"/>
                    </a:lnTo>
                    <a:lnTo>
                      <a:pt x="38563" y="10590"/>
                    </a:lnTo>
                    <a:close/>
                  </a:path>
                </a:pathLst>
              </a:custGeom>
              <a:solidFill>
                <a:srgbClr val="000000"/>
              </a:solidFill>
              <a:ln w="3489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0" name="Рисунок 85">
                <a:extLst>
                  <a:ext uri="{FF2B5EF4-FFF2-40B4-BE49-F238E27FC236}">
                    <a16:creationId xmlns:a16="http://schemas.microsoft.com/office/drawing/2014/main" id="{BEE5FD7F-B025-4FBF-AB46-C4584022DDEE}"/>
                  </a:ext>
                </a:extLst>
              </p:cNvPr>
              <p:cNvSpPr/>
              <p:nvPr/>
            </p:nvSpPr>
            <p:spPr>
              <a:xfrm>
                <a:off x="5476098" y="5430348"/>
                <a:ext cx="339622" cy="10358"/>
              </a:xfrm>
              <a:custGeom>
                <a:avLst/>
                <a:gdLst>
                  <a:gd name="connsiteX0" fmla="*/ 334444 w 339622"/>
                  <a:gd name="connsiteY0" fmla="*/ 0 h 10358"/>
                  <a:gd name="connsiteX1" fmla="*/ 5179 w 339622"/>
                  <a:gd name="connsiteY1" fmla="*/ 0 h 10358"/>
                  <a:gd name="connsiteX2" fmla="*/ 0 w 339622"/>
                  <a:gd name="connsiteY2" fmla="*/ 5179 h 10358"/>
                  <a:gd name="connsiteX3" fmla="*/ 5179 w 339622"/>
                  <a:gd name="connsiteY3" fmla="*/ 10358 h 10358"/>
                  <a:gd name="connsiteX4" fmla="*/ 334444 w 339622"/>
                  <a:gd name="connsiteY4" fmla="*/ 10358 h 10358"/>
                  <a:gd name="connsiteX5" fmla="*/ 339623 w 339622"/>
                  <a:gd name="connsiteY5" fmla="*/ 5179 h 10358"/>
                  <a:gd name="connsiteX6" fmla="*/ 334444 w 339622"/>
                  <a:gd name="connsiteY6" fmla="*/ 0 h 10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9622" h="10358">
                    <a:moveTo>
                      <a:pt x="334444" y="0"/>
                    </a:moveTo>
                    <a:lnTo>
                      <a:pt x="5179" y="0"/>
                    </a:lnTo>
                    <a:cubicBezTo>
                      <a:pt x="2317" y="0"/>
                      <a:pt x="0" y="2317"/>
                      <a:pt x="0" y="5179"/>
                    </a:cubicBezTo>
                    <a:cubicBezTo>
                      <a:pt x="0" y="8041"/>
                      <a:pt x="2317" y="10358"/>
                      <a:pt x="5179" y="10358"/>
                    </a:cubicBezTo>
                    <a:lnTo>
                      <a:pt x="334444" y="10358"/>
                    </a:lnTo>
                    <a:cubicBezTo>
                      <a:pt x="337306" y="10358"/>
                      <a:pt x="339623" y="8041"/>
                      <a:pt x="339623" y="5179"/>
                    </a:cubicBezTo>
                    <a:cubicBezTo>
                      <a:pt x="339623" y="2317"/>
                      <a:pt x="337306" y="0"/>
                      <a:pt x="334444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1" name="Рисунок 85">
                <a:extLst>
                  <a:ext uri="{FF2B5EF4-FFF2-40B4-BE49-F238E27FC236}">
                    <a16:creationId xmlns:a16="http://schemas.microsoft.com/office/drawing/2014/main" id="{941BB427-2068-4C6C-87E4-FA030FD72FA1}"/>
                  </a:ext>
                </a:extLst>
              </p:cNvPr>
              <p:cNvSpPr/>
              <p:nvPr/>
            </p:nvSpPr>
            <p:spPr>
              <a:xfrm>
                <a:off x="5476915" y="5130146"/>
                <a:ext cx="340707" cy="104428"/>
              </a:xfrm>
              <a:custGeom>
                <a:avLst/>
                <a:gdLst>
                  <a:gd name="connsiteX0" fmla="*/ 338096 w 340707"/>
                  <a:gd name="connsiteY0" fmla="*/ 94752 h 104428"/>
                  <a:gd name="connsiteX1" fmla="*/ 173462 w 340707"/>
                  <a:gd name="connsiteY1" fmla="*/ 681 h 104428"/>
                  <a:gd name="connsiteX2" fmla="*/ 168336 w 340707"/>
                  <a:gd name="connsiteY2" fmla="*/ 674 h 104428"/>
                  <a:gd name="connsiteX3" fmla="*/ 2622 w 340707"/>
                  <a:gd name="connsiteY3" fmla="*/ 94745 h 104428"/>
                  <a:gd name="connsiteX4" fmla="*/ 676 w 340707"/>
                  <a:gd name="connsiteY4" fmla="*/ 101806 h 104428"/>
                  <a:gd name="connsiteX5" fmla="*/ 5185 w 340707"/>
                  <a:gd name="connsiteY5" fmla="*/ 104429 h 104428"/>
                  <a:gd name="connsiteX6" fmla="*/ 7737 w 340707"/>
                  <a:gd name="connsiteY6" fmla="*/ 103755 h 104428"/>
                  <a:gd name="connsiteX7" fmla="*/ 170885 w 340707"/>
                  <a:gd name="connsiteY7" fmla="*/ 11139 h 104428"/>
                  <a:gd name="connsiteX8" fmla="*/ 332960 w 340707"/>
                  <a:gd name="connsiteY8" fmla="*/ 103745 h 104428"/>
                  <a:gd name="connsiteX9" fmla="*/ 340024 w 340707"/>
                  <a:gd name="connsiteY9" fmla="*/ 101816 h 104428"/>
                  <a:gd name="connsiteX10" fmla="*/ 338096 w 340707"/>
                  <a:gd name="connsiteY10" fmla="*/ 94752 h 104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40707" h="104428">
                    <a:moveTo>
                      <a:pt x="338096" y="94752"/>
                    </a:moveTo>
                    <a:lnTo>
                      <a:pt x="173462" y="681"/>
                    </a:lnTo>
                    <a:cubicBezTo>
                      <a:pt x="171876" y="-224"/>
                      <a:pt x="169922" y="-228"/>
                      <a:pt x="168336" y="674"/>
                    </a:cubicBezTo>
                    <a:lnTo>
                      <a:pt x="2622" y="94745"/>
                    </a:lnTo>
                    <a:cubicBezTo>
                      <a:pt x="134" y="96156"/>
                      <a:pt x="-735" y="99318"/>
                      <a:pt x="676" y="101806"/>
                    </a:cubicBezTo>
                    <a:cubicBezTo>
                      <a:pt x="1631" y="103488"/>
                      <a:pt x="3381" y="104429"/>
                      <a:pt x="5185" y="104429"/>
                    </a:cubicBezTo>
                    <a:cubicBezTo>
                      <a:pt x="6051" y="104429"/>
                      <a:pt x="6928" y="104212"/>
                      <a:pt x="7737" y="103755"/>
                    </a:cubicBezTo>
                    <a:lnTo>
                      <a:pt x="170885" y="11139"/>
                    </a:lnTo>
                    <a:lnTo>
                      <a:pt x="332960" y="103745"/>
                    </a:lnTo>
                    <a:cubicBezTo>
                      <a:pt x="335433" y="105156"/>
                      <a:pt x="338599" y="104304"/>
                      <a:pt x="340024" y="101816"/>
                    </a:cubicBezTo>
                    <a:cubicBezTo>
                      <a:pt x="341443" y="99336"/>
                      <a:pt x="340580" y="96174"/>
                      <a:pt x="338096" y="94752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96242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>
            <a:extLst>
              <a:ext uri="{FF2B5EF4-FFF2-40B4-BE49-F238E27FC236}">
                <a16:creationId xmlns:a16="http://schemas.microsoft.com/office/drawing/2014/main" id="{A8422DC5-987D-4949-8543-B54023A079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2" name="Объект 21" hidden="1">
                        <a:extLst>
                          <a:ext uri="{FF2B5EF4-FFF2-40B4-BE49-F238E27FC236}">
                            <a16:creationId xmlns:a16="http://schemas.microsoft.com/office/drawing/2014/main" id="{A8422DC5-987D-4949-8543-B54023A079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B1FD3F5-D117-F04A-92B9-D823373C1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332399"/>
          </a:xfrm>
        </p:spPr>
        <p:txBody>
          <a:bodyPr vert="horz"/>
          <a:lstStyle/>
          <a:p>
            <a:r>
              <a:rPr lang="ru-RU" dirty="0" smtClean="0"/>
              <a:t>Формат обучения</a:t>
            </a:r>
            <a:endParaRPr lang="ru-RU" dirty="0"/>
          </a:p>
        </p:txBody>
      </p:sp>
      <p:sp>
        <p:nvSpPr>
          <p:cNvPr id="41" name="Текст 40">
            <a:extLst>
              <a:ext uri="{FF2B5EF4-FFF2-40B4-BE49-F238E27FC236}">
                <a16:creationId xmlns:a16="http://schemas.microsoft.com/office/drawing/2014/main" id="{9DF1D8D0-C7DD-964B-868D-B3620D0F79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E7E88607-6D3F-274B-ABC9-25FD5D466F91}"/>
              </a:ext>
            </a:extLst>
          </p:cNvPr>
          <p:cNvGrpSpPr/>
          <p:nvPr/>
        </p:nvGrpSpPr>
        <p:grpSpPr>
          <a:xfrm>
            <a:off x="803275" y="2711260"/>
            <a:ext cx="2880000" cy="2160000"/>
            <a:chOff x="803275" y="2711260"/>
            <a:chExt cx="2880000" cy="2160000"/>
          </a:xfrm>
        </p:grpSpPr>
        <p:sp>
          <p:nvSpPr>
            <p:cNvPr id="7" name="Rounded Rectangle 76">
              <a:extLst>
                <a:ext uri="{FF2B5EF4-FFF2-40B4-BE49-F238E27FC236}">
                  <a16:creationId xmlns:a16="http://schemas.microsoft.com/office/drawing/2014/main" id="{6B865775-3BF7-8348-9CA5-D9122BE97DF1}"/>
                </a:ext>
              </a:extLst>
            </p:cNvPr>
            <p:cNvSpPr/>
            <p:nvPr/>
          </p:nvSpPr>
          <p:spPr>
            <a:xfrm>
              <a:off x="803275" y="2711260"/>
              <a:ext cx="2880000" cy="2160000"/>
            </a:xfrm>
            <a:prstGeom prst="roundRect">
              <a:avLst>
                <a:gd name="adj" fmla="val 2450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2700000" scaled="1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 dirty="0">
                <a:sym typeface="+mn-lt"/>
              </a:endParaRPr>
            </a:p>
          </p:txBody>
        </p:sp>
        <p:sp>
          <p:nvSpPr>
            <p:cNvPr id="8" name="Текст 4">
              <a:extLst>
                <a:ext uri="{FF2B5EF4-FFF2-40B4-BE49-F238E27FC236}">
                  <a16:creationId xmlns:a16="http://schemas.microsoft.com/office/drawing/2014/main" id="{6A1021F6-2165-E142-AC3C-7F97AAD7A331}"/>
                </a:ext>
              </a:extLst>
            </p:cNvPr>
            <p:cNvSpPr txBox="1">
              <a:spLocks/>
            </p:cNvSpPr>
            <p:nvPr/>
          </p:nvSpPr>
          <p:spPr>
            <a:xfrm>
              <a:off x="1167998" y="3103714"/>
              <a:ext cx="2150554" cy="1184940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lvl="0" algn="ctr">
                <a:spcAft>
                  <a:spcPts val="600"/>
                </a:spcAft>
                <a:buNone/>
                <a:defRPr/>
              </a:pP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  <a:sym typeface="+mn-lt"/>
                </a:rPr>
                <a:t>Инженерная школа </a:t>
              </a:r>
            </a:p>
            <a:p>
              <a:pPr lvl="0" algn="ctr">
                <a:spcAft>
                  <a:spcPts val="600"/>
                </a:spcAft>
                <a:defRPr/>
              </a:pP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  <a:sym typeface="+mn-lt"/>
                </a:rPr>
                <a:t>УГМК</a:t>
              </a: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  <a:sym typeface="+mn-lt"/>
              </a:endParaRPr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22129C79-5CD7-134C-A90D-E29B5BD102DA}"/>
              </a:ext>
            </a:extLst>
          </p:cNvPr>
          <p:cNvGrpSpPr/>
          <p:nvPr/>
        </p:nvGrpSpPr>
        <p:grpSpPr>
          <a:xfrm>
            <a:off x="8505510" y="1347980"/>
            <a:ext cx="2880000" cy="2160000"/>
            <a:chOff x="8505510" y="1347980"/>
            <a:chExt cx="2880000" cy="2160000"/>
          </a:xfrm>
        </p:grpSpPr>
        <p:sp>
          <p:nvSpPr>
            <p:cNvPr id="12" name="Rounded Rectangle 76">
              <a:extLst>
                <a:ext uri="{FF2B5EF4-FFF2-40B4-BE49-F238E27FC236}">
                  <a16:creationId xmlns:a16="http://schemas.microsoft.com/office/drawing/2014/main" id="{2B9D0D6E-1B3B-1F44-B2B9-3206EB9E09C6}"/>
                </a:ext>
              </a:extLst>
            </p:cNvPr>
            <p:cNvSpPr/>
            <p:nvPr/>
          </p:nvSpPr>
          <p:spPr>
            <a:xfrm>
              <a:off x="8505510" y="1347980"/>
              <a:ext cx="2880000" cy="2160000"/>
            </a:xfrm>
            <a:prstGeom prst="roundRect">
              <a:avLst>
                <a:gd name="adj" fmla="val 2213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 dirty="0">
                <a:sym typeface="+mn-lt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4715B46-A8E5-A148-9AE2-9243376E6199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8757689" y="1493694"/>
              <a:ext cx="2375642" cy="189282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108000" indent="-108000" defTabSz="914400">
                <a:spcAft>
                  <a:spcPts val="6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  <a:defRPr sz="1000">
                  <a:solidFill>
                    <a:srgbClr val="495359"/>
                  </a:solidFill>
                </a:defRPr>
              </a:lvl1pPr>
            </a:lstStyle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Математика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Физика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Химия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Познавательные открытые уроки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Предметная олимпиада УГМК 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Отборочные туры </a:t>
              </a:r>
              <a:r>
                <a:rPr lang="ru-RU" sz="1200" dirty="0" err="1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Инженериады</a:t>
              </a: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 УГМК</a:t>
              </a:r>
              <a:endParaRPr lang="ru-RU" sz="1200" dirty="0">
                <a:solidFill>
                  <a:schemeClr val="tx1"/>
                </a:solidFill>
                <a:ea typeface="Euclid Circular A" panose="020B0504000000000000" pitchFamily="34" charset="-52"/>
              </a:endParaRP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ИТ - платформа </a:t>
              </a:r>
              <a:endParaRPr lang="ru-RU" sz="1200" dirty="0">
                <a:solidFill>
                  <a:schemeClr val="tx1"/>
                </a:solidFill>
                <a:ea typeface="Euclid Circular A" panose="020B0504000000000000" pitchFamily="34" charset="-52"/>
              </a:endParaRP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44EA19E2-59BF-364E-B083-B52ED22BDC8B}"/>
              </a:ext>
            </a:extLst>
          </p:cNvPr>
          <p:cNvGrpSpPr/>
          <p:nvPr/>
        </p:nvGrpSpPr>
        <p:grpSpPr>
          <a:xfrm>
            <a:off x="8505510" y="4051620"/>
            <a:ext cx="2880000" cy="2160000"/>
            <a:chOff x="8505510" y="4051620"/>
            <a:chExt cx="2880000" cy="2160000"/>
          </a:xfrm>
        </p:grpSpPr>
        <p:sp>
          <p:nvSpPr>
            <p:cNvPr id="15" name="Rounded Rectangle 76">
              <a:extLst>
                <a:ext uri="{FF2B5EF4-FFF2-40B4-BE49-F238E27FC236}">
                  <a16:creationId xmlns:a16="http://schemas.microsoft.com/office/drawing/2014/main" id="{2EF7EA85-247F-3C41-8D66-7DCD1F868450}"/>
                </a:ext>
              </a:extLst>
            </p:cNvPr>
            <p:cNvSpPr/>
            <p:nvPr/>
          </p:nvSpPr>
          <p:spPr>
            <a:xfrm>
              <a:off x="8505510" y="4051620"/>
              <a:ext cx="2880000" cy="2160000"/>
            </a:xfrm>
            <a:prstGeom prst="roundRect">
              <a:avLst>
                <a:gd name="adj" fmla="val 2213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 dirty="0">
                <a:sym typeface="+mn-lt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D525311-6A33-3E47-A1F4-15166189006A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8757689" y="4389109"/>
              <a:ext cx="2375642" cy="148502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108000" indent="-108000" defTabSz="914400">
                <a:spcAft>
                  <a:spcPts val="6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  <a:defRPr sz="1000">
                  <a:solidFill>
                    <a:srgbClr val="495359"/>
                  </a:solidFill>
                </a:defRPr>
              </a:lvl1pPr>
            </a:lstStyle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Проектные смены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Экскурсии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Конкурсы, </a:t>
              </a:r>
              <a:r>
                <a:rPr lang="ru-RU" sz="1200" dirty="0" err="1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квесты</a:t>
              </a:r>
              <a:endParaRPr lang="ru-RU" sz="1200" dirty="0" smtClean="0">
                <a:solidFill>
                  <a:schemeClr val="tx1"/>
                </a:solidFill>
                <a:ea typeface="Euclid Circular A" panose="020B0504000000000000" pitchFamily="34" charset="-52"/>
              </a:endParaRP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err="1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Инженериада</a:t>
              </a: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 УГМК (финал)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Дни открытых дверей в ТУ УГМК 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Прочие мероприятия</a:t>
              </a:r>
              <a:endParaRPr lang="ru-RU" sz="1200" dirty="0">
                <a:solidFill>
                  <a:schemeClr val="tx1"/>
                </a:solidFill>
                <a:ea typeface="Euclid Circular A" panose="020B0504000000000000" pitchFamily="34" charset="-52"/>
              </a:endParaRP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E72CB005-75A0-DC45-B8F6-75B1AB3360E6}"/>
              </a:ext>
            </a:extLst>
          </p:cNvPr>
          <p:cNvGrpSpPr/>
          <p:nvPr/>
        </p:nvGrpSpPr>
        <p:grpSpPr>
          <a:xfrm>
            <a:off x="4663945" y="1347980"/>
            <a:ext cx="2880000" cy="2160000"/>
            <a:chOff x="4663945" y="1347980"/>
            <a:chExt cx="2880000" cy="2160000"/>
          </a:xfrm>
        </p:grpSpPr>
        <p:sp>
          <p:nvSpPr>
            <p:cNvPr id="18" name="Rounded Rectangle 76">
              <a:extLst>
                <a:ext uri="{FF2B5EF4-FFF2-40B4-BE49-F238E27FC236}">
                  <a16:creationId xmlns:a16="http://schemas.microsoft.com/office/drawing/2014/main" id="{AAFA32BA-AFCD-6A4C-BFFA-C05ED8887FBA}"/>
                </a:ext>
              </a:extLst>
            </p:cNvPr>
            <p:cNvSpPr/>
            <p:nvPr/>
          </p:nvSpPr>
          <p:spPr>
            <a:xfrm>
              <a:off x="4663945" y="1347980"/>
              <a:ext cx="2880000" cy="2160000"/>
            </a:xfrm>
            <a:prstGeom prst="roundRect">
              <a:avLst>
                <a:gd name="adj" fmla="val 2213"/>
              </a:avLst>
            </a:prstGeom>
            <a:solidFill>
              <a:schemeClr val="tx2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 dirty="0">
                <a:sym typeface="+mn-lt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98F6F1AB-524C-4D41-8EA4-9D5A1A90DB30}"/>
                </a:ext>
              </a:extLst>
            </p:cNvPr>
            <p:cNvSpPr txBox="1"/>
            <p:nvPr/>
          </p:nvSpPr>
          <p:spPr>
            <a:xfrm>
              <a:off x="4870473" y="2194333"/>
              <a:ext cx="2481797" cy="184666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spAutoFit/>
            </a:bodyPr>
            <a:lstStyle/>
            <a:p>
              <a:pPr lvl="0">
                <a:defRPr/>
              </a:pPr>
              <a:r>
                <a:rPr lang="ru-RU" sz="1200" dirty="0" smtClean="0">
                  <a:ea typeface="Euclid Circular A" panose="020B0504000000000000" pitchFamily="34" charset="-52"/>
                  <a:sym typeface="Arial"/>
                </a:rPr>
                <a:t>Онлайн формат мероприятий</a:t>
              </a:r>
              <a:endParaRPr lang="en-US" sz="1200" dirty="0">
                <a:ea typeface="Euclid Circular A" panose="020B0504000000000000" pitchFamily="34" charset="-52"/>
                <a:sym typeface="Arial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22A51C5-720C-2541-B0C9-022BA7C203E0}"/>
                </a:ext>
              </a:extLst>
            </p:cNvPr>
            <p:cNvSpPr txBox="1"/>
            <p:nvPr/>
          </p:nvSpPr>
          <p:spPr>
            <a:xfrm>
              <a:off x="5554298" y="1740397"/>
              <a:ext cx="1797972" cy="184666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spAutoFit/>
            </a:bodyPr>
            <a:lstStyle>
              <a:defPPr>
                <a:defRPr lang="ru-RU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 b="1">
                  <a:solidFill>
                    <a:schemeClr val="accent1"/>
                  </a:solidFill>
                  <a:latin typeface="+mj-lt"/>
                  <a:ea typeface="Euclid Circular A" panose="020B0504000000000000" pitchFamily="34" charset="-52"/>
                </a:defRPr>
              </a:lvl1pPr>
            </a:lstStyle>
            <a:p>
              <a:r>
                <a:rPr lang="ru-RU" dirty="0" smtClean="0">
                  <a:solidFill>
                    <a:schemeClr val="tx1"/>
                  </a:solidFill>
                  <a:sym typeface="Arial"/>
                </a:rPr>
                <a:t>Виртуальная школа</a:t>
              </a:r>
              <a:endParaRPr lang="ru-RU" dirty="0">
                <a:solidFill>
                  <a:schemeClr val="tx1"/>
                </a:solidFill>
                <a:sym typeface="Arial"/>
              </a:endParaRPr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FAD0947F-E15B-F240-A015-066A07BD8211}"/>
              </a:ext>
            </a:extLst>
          </p:cNvPr>
          <p:cNvGrpSpPr/>
          <p:nvPr/>
        </p:nvGrpSpPr>
        <p:grpSpPr>
          <a:xfrm>
            <a:off x="4663945" y="4051620"/>
            <a:ext cx="2880000" cy="2160000"/>
            <a:chOff x="4663945" y="4051620"/>
            <a:chExt cx="2880000" cy="2160000"/>
          </a:xfrm>
        </p:grpSpPr>
        <p:sp>
          <p:nvSpPr>
            <p:cNvPr id="28" name="Rounded Rectangle 76">
              <a:extLst>
                <a:ext uri="{FF2B5EF4-FFF2-40B4-BE49-F238E27FC236}">
                  <a16:creationId xmlns:a16="http://schemas.microsoft.com/office/drawing/2014/main" id="{D72C1F7B-CFF8-6643-ACD4-A6FA768DB757}"/>
                </a:ext>
              </a:extLst>
            </p:cNvPr>
            <p:cNvSpPr/>
            <p:nvPr/>
          </p:nvSpPr>
          <p:spPr>
            <a:xfrm>
              <a:off x="4663945" y="4051620"/>
              <a:ext cx="2880000" cy="2160000"/>
            </a:xfrm>
            <a:prstGeom prst="roundRect">
              <a:avLst>
                <a:gd name="adj" fmla="val 2213"/>
              </a:avLst>
            </a:prstGeom>
            <a:solidFill>
              <a:schemeClr val="tx2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 dirty="0">
                <a:sym typeface="+mn-lt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C6AAA0FE-6F61-9241-AA74-C749B1D0991D}"/>
                </a:ext>
              </a:extLst>
            </p:cNvPr>
            <p:cNvSpPr txBox="1"/>
            <p:nvPr/>
          </p:nvSpPr>
          <p:spPr>
            <a:xfrm>
              <a:off x="4870473" y="4900462"/>
              <a:ext cx="2481797" cy="184666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spAutoFit/>
            </a:bodyPr>
            <a:lstStyle/>
            <a:p>
              <a:pPr lvl="0">
                <a:defRPr/>
              </a:pPr>
              <a:r>
                <a:rPr lang="ru-RU" sz="1200" dirty="0" smtClean="0">
                  <a:ea typeface="Euclid Circular A" panose="020B0504000000000000" pitchFamily="34" charset="-52"/>
                  <a:sym typeface="Arial"/>
                </a:rPr>
                <a:t>Очный формат мероприятий</a:t>
              </a:r>
              <a:endParaRPr lang="ru-RU" sz="1200" dirty="0">
                <a:ea typeface="Euclid Circular A" panose="020B0504000000000000" pitchFamily="34" charset="-52"/>
                <a:sym typeface="Arial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8D5FCA83-E087-7142-8980-98B486338C3C}"/>
                </a:ext>
              </a:extLst>
            </p:cNvPr>
            <p:cNvSpPr txBox="1"/>
            <p:nvPr/>
          </p:nvSpPr>
          <p:spPr>
            <a:xfrm>
              <a:off x="5554298" y="4446526"/>
              <a:ext cx="1797972" cy="184666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spAutoFit/>
            </a:bodyPr>
            <a:lstStyle>
              <a:defPPr>
                <a:defRPr lang="ru-RU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 b="1">
                  <a:solidFill>
                    <a:schemeClr val="accent1"/>
                  </a:solidFill>
                  <a:latin typeface="+mj-lt"/>
                  <a:ea typeface="Euclid Circular A" panose="020B0504000000000000" pitchFamily="34" charset="-52"/>
                </a:defRPr>
              </a:lvl1pPr>
            </a:lstStyle>
            <a:p>
              <a:r>
                <a:rPr lang="ru-RU" dirty="0" smtClean="0">
                  <a:solidFill>
                    <a:schemeClr val="tx1"/>
                  </a:solidFill>
                  <a:sym typeface="Arial"/>
                </a:rPr>
                <a:t>Очная школа</a:t>
              </a:r>
              <a:endParaRPr lang="ru-RU" dirty="0">
                <a:solidFill>
                  <a:schemeClr val="tx1"/>
                </a:solidFill>
                <a:sym typeface="Arial"/>
              </a:endParaRPr>
            </a:p>
          </p:txBody>
        </p:sp>
      </p:grp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5125C34A-9EE4-4742-8C0E-6A580EC701AD}"/>
              </a:ext>
            </a:extLst>
          </p:cNvPr>
          <p:cNvGrpSpPr/>
          <p:nvPr/>
        </p:nvGrpSpPr>
        <p:grpSpPr>
          <a:xfrm rot="5400000">
            <a:off x="7846027" y="2305542"/>
            <a:ext cx="371579" cy="269130"/>
            <a:chOff x="1433528" y="4172580"/>
            <a:chExt cx="371579" cy="269130"/>
          </a:xfrm>
        </p:grpSpPr>
        <p:sp>
          <p:nvSpPr>
            <p:cNvPr id="33" name="Нашивка 32">
              <a:extLst>
                <a:ext uri="{FF2B5EF4-FFF2-40B4-BE49-F238E27FC236}">
                  <a16:creationId xmlns:a16="http://schemas.microsoft.com/office/drawing/2014/main" id="{EAA17902-B7E1-644A-9235-A255D3DD4E14}"/>
                </a:ext>
              </a:extLst>
            </p:cNvPr>
            <p:cNvSpPr/>
            <p:nvPr/>
          </p:nvSpPr>
          <p:spPr>
            <a:xfrm rot="16200000">
              <a:off x="1529622" y="4076486"/>
              <a:ext cx="179390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34" name="Нашивка 33">
              <a:extLst>
                <a:ext uri="{FF2B5EF4-FFF2-40B4-BE49-F238E27FC236}">
                  <a16:creationId xmlns:a16="http://schemas.microsoft.com/office/drawing/2014/main" id="{094FA44F-1F9A-B242-BF17-6A7F6BAD6ACC}"/>
                </a:ext>
              </a:extLst>
            </p:cNvPr>
            <p:cNvSpPr/>
            <p:nvPr/>
          </p:nvSpPr>
          <p:spPr>
            <a:xfrm rot="16200000">
              <a:off x="1529576" y="4166180"/>
              <a:ext cx="179483" cy="371578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D6A839F8-E0AC-734A-8575-5E566C7B234E}"/>
              </a:ext>
            </a:extLst>
          </p:cNvPr>
          <p:cNvGrpSpPr/>
          <p:nvPr/>
        </p:nvGrpSpPr>
        <p:grpSpPr>
          <a:xfrm rot="5400000">
            <a:off x="7846027" y="5001242"/>
            <a:ext cx="371579" cy="269130"/>
            <a:chOff x="1433528" y="4172580"/>
            <a:chExt cx="371579" cy="269130"/>
          </a:xfrm>
        </p:grpSpPr>
        <p:sp>
          <p:nvSpPr>
            <p:cNvPr id="36" name="Нашивка 35">
              <a:extLst>
                <a:ext uri="{FF2B5EF4-FFF2-40B4-BE49-F238E27FC236}">
                  <a16:creationId xmlns:a16="http://schemas.microsoft.com/office/drawing/2014/main" id="{0F5FD773-5D77-9844-8F91-0E185549177C}"/>
                </a:ext>
              </a:extLst>
            </p:cNvPr>
            <p:cNvSpPr/>
            <p:nvPr/>
          </p:nvSpPr>
          <p:spPr>
            <a:xfrm rot="16200000">
              <a:off x="1529622" y="4076486"/>
              <a:ext cx="179390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37" name="Нашивка 36">
              <a:extLst>
                <a:ext uri="{FF2B5EF4-FFF2-40B4-BE49-F238E27FC236}">
                  <a16:creationId xmlns:a16="http://schemas.microsoft.com/office/drawing/2014/main" id="{25B8E98A-AAC2-4A44-B28D-E4B32D35BEA8}"/>
                </a:ext>
              </a:extLst>
            </p:cNvPr>
            <p:cNvSpPr/>
            <p:nvPr/>
          </p:nvSpPr>
          <p:spPr>
            <a:xfrm rot="16200000">
              <a:off x="1529576" y="4166180"/>
              <a:ext cx="179483" cy="371578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5" name="Соединительная линия уступом 4">
            <a:extLst>
              <a:ext uri="{FF2B5EF4-FFF2-40B4-BE49-F238E27FC236}">
                <a16:creationId xmlns:a16="http://schemas.microsoft.com/office/drawing/2014/main" id="{04EC9207-7910-7C43-BDDA-DCF3310DB23E}"/>
              </a:ext>
            </a:extLst>
          </p:cNvPr>
          <p:cNvCxnSpPr>
            <a:cxnSpLocks/>
            <a:stCxn id="7" idx="3"/>
            <a:endCxn id="18" idx="1"/>
          </p:cNvCxnSpPr>
          <p:nvPr/>
        </p:nvCxnSpPr>
        <p:spPr>
          <a:xfrm flipV="1">
            <a:off x="3683275" y="2427980"/>
            <a:ext cx="980670" cy="1363280"/>
          </a:xfrm>
          <a:prstGeom prst="bentConnector3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Соединительная линия уступом 9">
            <a:extLst>
              <a:ext uri="{FF2B5EF4-FFF2-40B4-BE49-F238E27FC236}">
                <a16:creationId xmlns:a16="http://schemas.microsoft.com/office/drawing/2014/main" id="{0396D239-6DFD-F844-AF96-AF1F9D1F074F}"/>
              </a:ext>
            </a:extLst>
          </p:cNvPr>
          <p:cNvCxnSpPr>
            <a:stCxn id="7" idx="3"/>
            <a:endCxn id="28" idx="1"/>
          </p:cNvCxnSpPr>
          <p:nvPr/>
        </p:nvCxnSpPr>
        <p:spPr>
          <a:xfrm>
            <a:off x="3683275" y="3791260"/>
            <a:ext cx="980670" cy="1340360"/>
          </a:xfrm>
          <a:prstGeom prst="bentConnector3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B1308176-467F-4094-B933-25344D01E8D1}"/>
              </a:ext>
            </a:extLst>
          </p:cNvPr>
          <p:cNvGrpSpPr/>
          <p:nvPr/>
        </p:nvGrpSpPr>
        <p:grpSpPr>
          <a:xfrm>
            <a:off x="4832043" y="1554375"/>
            <a:ext cx="550305" cy="550305"/>
            <a:chOff x="1714362" y="2415937"/>
            <a:chExt cx="550305" cy="550305"/>
          </a:xfrm>
        </p:grpSpPr>
        <p:sp>
          <p:nvSpPr>
            <p:cNvPr id="39" name="Овал 38">
              <a:extLst>
                <a:ext uri="{FF2B5EF4-FFF2-40B4-BE49-F238E27FC236}">
                  <a16:creationId xmlns:a16="http://schemas.microsoft.com/office/drawing/2014/main" id="{A15F9628-D280-420D-A2BD-C043158941DC}"/>
                </a:ext>
              </a:extLst>
            </p:cNvPr>
            <p:cNvSpPr/>
            <p:nvPr/>
          </p:nvSpPr>
          <p:spPr>
            <a:xfrm>
              <a:off x="1714362" y="2415937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40" name="Рисунок 37">
              <a:extLst>
                <a:ext uri="{FF2B5EF4-FFF2-40B4-BE49-F238E27FC236}">
                  <a16:creationId xmlns:a16="http://schemas.microsoft.com/office/drawing/2014/main" id="{FEA82F9F-F980-485F-A955-34AA3AFA8171}"/>
                </a:ext>
              </a:extLst>
            </p:cNvPr>
            <p:cNvGrpSpPr/>
            <p:nvPr/>
          </p:nvGrpSpPr>
          <p:grpSpPr>
            <a:xfrm>
              <a:off x="1827953" y="2528588"/>
              <a:ext cx="323117" cy="325000"/>
              <a:chOff x="1827953" y="2528588"/>
              <a:chExt cx="323117" cy="325000"/>
            </a:xfrm>
            <a:solidFill>
              <a:srgbClr val="231F20"/>
            </a:solidFill>
          </p:grpSpPr>
          <p:sp>
            <p:nvSpPr>
              <p:cNvPr id="42" name="Рисунок 37">
                <a:extLst>
                  <a:ext uri="{FF2B5EF4-FFF2-40B4-BE49-F238E27FC236}">
                    <a16:creationId xmlns:a16="http://schemas.microsoft.com/office/drawing/2014/main" id="{D515AD84-1B4F-47A2-8747-5B163F89F0EA}"/>
                  </a:ext>
                </a:extLst>
              </p:cNvPr>
              <p:cNvSpPr/>
              <p:nvPr/>
            </p:nvSpPr>
            <p:spPr>
              <a:xfrm>
                <a:off x="1827953" y="2528588"/>
                <a:ext cx="323117" cy="325000"/>
              </a:xfrm>
              <a:custGeom>
                <a:avLst/>
                <a:gdLst>
                  <a:gd name="connsiteX0" fmla="*/ 283504 w 323117"/>
                  <a:gd name="connsiteY0" fmla="*/ 0 h 325000"/>
                  <a:gd name="connsiteX1" fmla="*/ 39632 w 323117"/>
                  <a:gd name="connsiteY1" fmla="*/ 0 h 325000"/>
                  <a:gd name="connsiteX2" fmla="*/ 0 w 323117"/>
                  <a:gd name="connsiteY2" fmla="*/ 39632 h 325000"/>
                  <a:gd name="connsiteX3" fmla="*/ 0 w 323117"/>
                  <a:gd name="connsiteY3" fmla="*/ 207472 h 325000"/>
                  <a:gd name="connsiteX4" fmla="*/ 39632 w 323117"/>
                  <a:gd name="connsiteY4" fmla="*/ 247097 h 325000"/>
                  <a:gd name="connsiteX5" fmla="*/ 126277 w 323117"/>
                  <a:gd name="connsiteY5" fmla="*/ 247097 h 325000"/>
                  <a:gd name="connsiteX6" fmla="*/ 126277 w 323117"/>
                  <a:gd name="connsiteY6" fmla="*/ 314201 h 325000"/>
                  <a:gd name="connsiteX7" fmla="*/ 59119 w 323117"/>
                  <a:gd name="connsiteY7" fmla="*/ 314201 h 325000"/>
                  <a:gd name="connsiteX8" fmla="*/ 53719 w 323117"/>
                  <a:gd name="connsiteY8" fmla="*/ 319601 h 325000"/>
                  <a:gd name="connsiteX9" fmla="*/ 59119 w 323117"/>
                  <a:gd name="connsiteY9" fmla="*/ 325001 h 325000"/>
                  <a:gd name="connsiteX10" fmla="*/ 131677 w 323117"/>
                  <a:gd name="connsiteY10" fmla="*/ 325001 h 325000"/>
                  <a:gd name="connsiteX11" fmla="*/ 191455 w 323117"/>
                  <a:gd name="connsiteY11" fmla="*/ 325001 h 325000"/>
                  <a:gd name="connsiteX12" fmla="*/ 264013 w 323117"/>
                  <a:gd name="connsiteY12" fmla="*/ 325001 h 325000"/>
                  <a:gd name="connsiteX13" fmla="*/ 269413 w 323117"/>
                  <a:gd name="connsiteY13" fmla="*/ 319601 h 325000"/>
                  <a:gd name="connsiteX14" fmla="*/ 264013 w 323117"/>
                  <a:gd name="connsiteY14" fmla="*/ 314201 h 325000"/>
                  <a:gd name="connsiteX15" fmla="*/ 196855 w 323117"/>
                  <a:gd name="connsiteY15" fmla="*/ 314201 h 325000"/>
                  <a:gd name="connsiteX16" fmla="*/ 196855 w 323117"/>
                  <a:gd name="connsiteY16" fmla="*/ 247097 h 325000"/>
                  <a:gd name="connsiteX17" fmla="*/ 283500 w 323117"/>
                  <a:gd name="connsiteY17" fmla="*/ 247097 h 325000"/>
                  <a:gd name="connsiteX18" fmla="*/ 323118 w 323117"/>
                  <a:gd name="connsiteY18" fmla="*/ 207472 h 325000"/>
                  <a:gd name="connsiteX19" fmla="*/ 323118 w 323117"/>
                  <a:gd name="connsiteY19" fmla="*/ 39632 h 325000"/>
                  <a:gd name="connsiteX20" fmla="*/ 283504 w 323117"/>
                  <a:gd name="connsiteY20" fmla="*/ 0 h 325000"/>
                  <a:gd name="connsiteX21" fmla="*/ 39632 w 323117"/>
                  <a:gd name="connsiteY21" fmla="*/ 10800 h 325000"/>
                  <a:gd name="connsiteX22" fmla="*/ 283504 w 323117"/>
                  <a:gd name="connsiteY22" fmla="*/ 10800 h 325000"/>
                  <a:gd name="connsiteX23" fmla="*/ 312322 w 323117"/>
                  <a:gd name="connsiteY23" fmla="*/ 39632 h 325000"/>
                  <a:gd name="connsiteX24" fmla="*/ 312322 w 323117"/>
                  <a:gd name="connsiteY24" fmla="*/ 166892 h 325000"/>
                  <a:gd name="connsiteX25" fmla="*/ 10804 w 323117"/>
                  <a:gd name="connsiteY25" fmla="*/ 166892 h 325000"/>
                  <a:gd name="connsiteX26" fmla="*/ 10804 w 323117"/>
                  <a:gd name="connsiteY26" fmla="*/ 39632 h 325000"/>
                  <a:gd name="connsiteX27" fmla="*/ 39632 w 323117"/>
                  <a:gd name="connsiteY27" fmla="*/ 10800 h 325000"/>
                  <a:gd name="connsiteX28" fmla="*/ 186059 w 323117"/>
                  <a:gd name="connsiteY28" fmla="*/ 314201 h 325000"/>
                  <a:gd name="connsiteX29" fmla="*/ 137081 w 323117"/>
                  <a:gd name="connsiteY29" fmla="*/ 314201 h 325000"/>
                  <a:gd name="connsiteX30" fmla="*/ 137081 w 323117"/>
                  <a:gd name="connsiteY30" fmla="*/ 247097 h 325000"/>
                  <a:gd name="connsiteX31" fmla="*/ 186059 w 323117"/>
                  <a:gd name="connsiteY31" fmla="*/ 247097 h 325000"/>
                  <a:gd name="connsiteX32" fmla="*/ 186059 w 323117"/>
                  <a:gd name="connsiteY32" fmla="*/ 314201 h 325000"/>
                  <a:gd name="connsiteX33" fmla="*/ 283504 w 323117"/>
                  <a:gd name="connsiteY33" fmla="*/ 236297 h 325000"/>
                  <a:gd name="connsiteX34" fmla="*/ 191459 w 323117"/>
                  <a:gd name="connsiteY34" fmla="*/ 236297 h 325000"/>
                  <a:gd name="connsiteX35" fmla="*/ 131681 w 323117"/>
                  <a:gd name="connsiteY35" fmla="*/ 236297 h 325000"/>
                  <a:gd name="connsiteX36" fmla="*/ 39636 w 323117"/>
                  <a:gd name="connsiteY36" fmla="*/ 236297 h 325000"/>
                  <a:gd name="connsiteX37" fmla="*/ 10804 w 323117"/>
                  <a:gd name="connsiteY37" fmla="*/ 207472 h 325000"/>
                  <a:gd name="connsiteX38" fmla="*/ 10804 w 323117"/>
                  <a:gd name="connsiteY38" fmla="*/ 177696 h 325000"/>
                  <a:gd name="connsiteX39" fmla="*/ 312322 w 323117"/>
                  <a:gd name="connsiteY39" fmla="*/ 177696 h 325000"/>
                  <a:gd name="connsiteX40" fmla="*/ 312322 w 323117"/>
                  <a:gd name="connsiteY40" fmla="*/ 207472 h 325000"/>
                  <a:gd name="connsiteX41" fmla="*/ 283504 w 323117"/>
                  <a:gd name="connsiteY41" fmla="*/ 236297 h 325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323117" h="325000">
                    <a:moveTo>
                      <a:pt x="283504" y="0"/>
                    </a:moveTo>
                    <a:lnTo>
                      <a:pt x="39632" y="0"/>
                    </a:lnTo>
                    <a:cubicBezTo>
                      <a:pt x="17780" y="0"/>
                      <a:pt x="0" y="17780"/>
                      <a:pt x="0" y="39632"/>
                    </a:cubicBezTo>
                    <a:lnTo>
                      <a:pt x="0" y="207472"/>
                    </a:lnTo>
                    <a:cubicBezTo>
                      <a:pt x="0" y="229320"/>
                      <a:pt x="17777" y="247097"/>
                      <a:pt x="39632" y="247097"/>
                    </a:cubicBezTo>
                    <a:lnTo>
                      <a:pt x="126277" y="247097"/>
                    </a:lnTo>
                    <a:lnTo>
                      <a:pt x="126277" y="314201"/>
                    </a:lnTo>
                    <a:lnTo>
                      <a:pt x="59119" y="314201"/>
                    </a:lnTo>
                    <a:cubicBezTo>
                      <a:pt x="56135" y="314201"/>
                      <a:pt x="53719" y="316616"/>
                      <a:pt x="53719" y="319601"/>
                    </a:cubicBezTo>
                    <a:cubicBezTo>
                      <a:pt x="53719" y="322585"/>
                      <a:pt x="56135" y="325001"/>
                      <a:pt x="59119" y="325001"/>
                    </a:cubicBezTo>
                    <a:lnTo>
                      <a:pt x="131677" y="325001"/>
                    </a:lnTo>
                    <a:lnTo>
                      <a:pt x="191455" y="325001"/>
                    </a:lnTo>
                    <a:lnTo>
                      <a:pt x="264013" y="325001"/>
                    </a:lnTo>
                    <a:cubicBezTo>
                      <a:pt x="266998" y="325001"/>
                      <a:pt x="269413" y="322585"/>
                      <a:pt x="269413" y="319601"/>
                    </a:cubicBezTo>
                    <a:cubicBezTo>
                      <a:pt x="269413" y="316616"/>
                      <a:pt x="266998" y="314201"/>
                      <a:pt x="264013" y="314201"/>
                    </a:cubicBezTo>
                    <a:lnTo>
                      <a:pt x="196855" y="314201"/>
                    </a:lnTo>
                    <a:lnTo>
                      <a:pt x="196855" y="247097"/>
                    </a:lnTo>
                    <a:lnTo>
                      <a:pt x="283500" y="247097"/>
                    </a:lnTo>
                    <a:cubicBezTo>
                      <a:pt x="305345" y="247097"/>
                      <a:pt x="323118" y="229320"/>
                      <a:pt x="323118" y="207472"/>
                    </a:cubicBezTo>
                    <a:lnTo>
                      <a:pt x="323118" y="39632"/>
                    </a:lnTo>
                    <a:cubicBezTo>
                      <a:pt x="323122" y="17780"/>
                      <a:pt x="305348" y="0"/>
                      <a:pt x="283504" y="0"/>
                    </a:cubicBezTo>
                    <a:close/>
                    <a:moveTo>
                      <a:pt x="39632" y="10800"/>
                    </a:moveTo>
                    <a:lnTo>
                      <a:pt x="283504" y="10800"/>
                    </a:lnTo>
                    <a:cubicBezTo>
                      <a:pt x="299394" y="10800"/>
                      <a:pt x="312322" y="23735"/>
                      <a:pt x="312322" y="39632"/>
                    </a:cubicBezTo>
                    <a:lnTo>
                      <a:pt x="312322" y="166892"/>
                    </a:lnTo>
                    <a:lnTo>
                      <a:pt x="10804" y="166892"/>
                    </a:lnTo>
                    <a:lnTo>
                      <a:pt x="10804" y="39632"/>
                    </a:lnTo>
                    <a:cubicBezTo>
                      <a:pt x="10804" y="23731"/>
                      <a:pt x="23735" y="10800"/>
                      <a:pt x="39632" y="10800"/>
                    </a:cubicBezTo>
                    <a:close/>
                    <a:moveTo>
                      <a:pt x="186059" y="314201"/>
                    </a:moveTo>
                    <a:lnTo>
                      <a:pt x="137081" y="314201"/>
                    </a:lnTo>
                    <a:lnTo>
                      <a:pt x="137081" y="247097"/>
                    </a:lnTo>
                    <a:lnTo>
                      <a:pt x="186059" y="247097"/>
                    </a:lnTo>
                    <a:lnTo>
                      <a:pt x="186059" y="314201"/>
                    </a:lnTo>
                    <a:close/>
                    <a:moveTo>
                      <a:pt x="283504" y="236297"/>
                    </a:moveTo>
                    <a:lnTo>
                      <a:pt x="191459" y="236297"/>
                    </a:lnTo>
                    <a:lnTo>
                      <a:pt x="131681" y="236297"/>
                    </a:lnTo>
                    <a:lnTo>
                      <a:pt x="39636" y="236297"/>
                    </a:lnTo>
                    <a:cubicBezTo>
                      <a:pt x="23738" y="236297"/>
                      <a:pt x="10804" y="223366"/>
                      <a:pt x="10804" y="207472"/>
                    </a:cubicBezTo>
                    <a:lnTo>
                      <a:pt x="10804" y="177696"/>
                    </a:lnTo>
                    <a:lnTo>
                      <a:pt x="312322" y="177696"/>
                    </a:lnTo>
                    <a:lnTo>
                      <a:pt x="312322" y="207472"/>
                    </a:lnTo>
                    <a:cubicBezTo>
                      <a:pt x="312322" y="223366"/>
                      <a:pt x="299394" y="236297"/>
                      <a:pt x="283504" y="236297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" name="Рисунок 37">
                <a:extLst>
                  <a:ext uri="{FF2B5EF4-FFF2-40B4-BE49-F238E27FC236}">
                    <a16:creationId xmlns:a16="http://schemas.microsoft.com/office/drawing/2014/main" id="{B702F7D4-3CA7-4EFE-BC11-2AA27C8CE6AD}"/>
                  </a:ext>
                </a:extLst>
              </p:cNvPr>
              <p:cNvSpPr/>
              <p:nvPr/>
            </p:nvSpPr>
            <p:spPr>
              <a:xfrm>
                <a:off x="1969303" y="2716487"/>
                <a:ext cx="40420" cy="40406"/>
              </a:xfrm>
              <a:custGeom>
                <a:avLst/>
                <a:gdLst>
                  <a:gd name="connsiteX0" fmla="*/ 20218 w 40420"/>
                  <a:gd name="connsiteY0" fmla="*/ 0 h 40406"/>
                  <a:gd name="connsiteX1" fmla="*/ 0 w 40420"/>
                  <a:gd name="connsiteY1" fmla="*/ 20203 h 40406"/>
                  <a:gd name="connsiteX2" fmla="*/ 20218 w 40420"/>
                  <a:gd name="connsiteY2" fmla="*/ 40406 h 40406"/>
                  <a:gd name="connsiteX3" fmla="*/ 40421 w 40420"/>
                  <a:gd name="connsiteY3" fmla="*/ 20203 h 40406"/>
                  <a:gd name="connsiteX4" fmla="*/ 20218 w 40420"/>
                  <a:gd name="connsiteY4" fmla="*/ 0 h 40406"/>
                  <a:gd name="connsiteX5" fmla="*/ 20218 w 40420"/>
                  <a:gd name="connsiteY5" fmla="*/ 29606 h 40406"/>
                  <a:gd name="connsiteX6" fmla="*/ 10800 w 40420"/>
                  <a:gd name="connsiteY6" fmla="*/ 20203 h 40406"/>
                  <a:gd name="connsiteX7" fmla="*/ 20218 w 40420"/>
                  <a:gd name="connsiteY7" fmla="*/ 10800 h 40406"/>
                  <a:gd name="connsiteX8" fmla="*/ 29621 w 40420"/>
                  <a:gd name="connsiteY8" fmla="*/ 20203 h 40406"/>
                  <a:gd name="connsiteX9" fmla="*/ 20218 w 40420"/>
                  <a:gd name="connsiteY9" fmla="*/ 29606 h 40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420" h="40406">
                    <a:moveTo>
                      <a:pt x="20218" y="0"/>
                    </a:moveTo>
                    <a:cubicBezTo>
                      <a:pt x="9068" y="0"/>
                      <a:pt x="0" y="9065"/>
                      <a:pt x="0" y="20203"/>
                    </a:cubicBezTo>
                    <a:cubicBezTo>
                      <a:pt x="0" y="31342"/>
                      <a:pt x="9068" y="40406"/>
                      <a:pt x="20218" y="40406"/>
                    </a:cubicBezTo>
                    <a:cubicBezTo>
                      <a:pt x="31360" y="40406"/>
                      <a:pt x="40421" y="31342"/>
                      <a:pt x="40421" y="20203"/>
                    </a:cubicBezTo>
                    <a:cubicBezTo>
                      <a:pt x="40421" y="9065"/>
                      <a:pt x="31360" y="0"/>
                      <a:pt x="20218" y="0"/>
                    </a:cubicBezTo>
                    <a:close/>
                    <a:moveTo>
                      <a:pt x="20218" y="29606"/>
                    </a:moveTo>
                    <a:cubicBezTo>
                      <a:pt x="15026" y="29606"/>
                      <a:pt x="10800" y="25387"/>
                      <a:pt x="10800" y="20203"/>
                    </a:cubicBezTo>
                    <a:cubicBezTo>
                      <a:pt x="10800" y="15019"/>
                      <a:pt x="15023" y="10800"/>
                      <a:pt x="20218" y="10800"/>
                    </a:cubicBezTo>
                    <a:cubicBezTo>
                      <a:pt x="25402" y="10800"/>
                      <a:pt x="29621" y="15019"/>
                      <a:pt x="29621" y="20203"/>
                    </a:cubicBezTo>
                    <a:cubicBezTo>
                      <a:pt x="29621" y="25387"/>
                      <a:pt x="25402" y="29606"/>
                      <a:pt x="20218" y="29606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A8069EEB-536F-44B8-91EB-AAEA6643D420}"/>
              </a:ext>
            </a:extLst>
          </p:cNvPr>
          <p:cNvGrpSpPr/>
          <p:nvPr/>
        </p:nvGrpSpPr>
        <p:grpSpPr>
          <a:xfrm>
            <a:off x="4832039" y="4263706"/>
            <a:ext cx="550305" cy="550305"/>
            <a:chOff x="2640229" y="5016400"/>
            <a:chExt cx="550305" cy="550305"/>
          </a:xfrm>
        </p:grpSpPr>
        <p:sp>
          <p:nvSpPr>
            <p:cNvPr id="45" name="Овал 44">
              <a:extLst>
                <a:ext uri="{FF2B5EF4-FFF2-40B4-BE49-F238E27FC236}">
                  <a16:creationId xmlns:a16="http://schemas.microsoft.com/office/drawing/2014/main" id="{479B41FA-E268-48AA-8E34-A9659C47036A}"/>
                </a:ext>
              </a:extLst>
            </p:cNvPr>
            <p:cNvSpPr/>
            <p:nvPr/>
          </p:nvSpPr>
          <p:spPr>
            <a:xfrm>
              <a:off x="2640229" y="5016400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46" name="Рисунок 86">
              <a:extLst>
                <a:ext uri="{FF2B5EF4-FFF2-40B4-BE49-F238E27FC236}">
                  <a16:creationId xmlns:a16="http://schemas.microsoft.com/office/drawing/2014/main" id="{5BBC8426-F2AB-4579-9D69-999557395E8E}"/>
                </a:ext>
              </a:extLst>
            </p:cNvPr>
            <p:cNvGrpSpPr/>
            <p:nvPr/>
          </p:nvGrpSpPr>
          <p:grpSpPr>
            <a:xfrm>
              <a:off x="2750849" y="5177645"/>
              <a:ext cx="330509" cy="229259"/>
              <a:chOff x="2750849" y="5177645"/>
              <a:chExt cx="330509" cy="229259"/>
            </a:xfrm>
            <a:solidFill>
              <a:srgbClr val="231F20"/>
            </a:solidFill>
          </p:grpSpPr>
          <p:sp>
            <p:nvSpPr>
              <p:cNvPr id="52" name="Рисунок 86">
                <a:extLst>
                  <a:ext uri="{FF2B5EF4-FFF2-40B4-BE49-F238E27FC236}">
                    <a16:creationId xmlns:a16="http://schemas.microsoft.com/office/drawing/2014/main" id="{E96654AA-7A7F-4A6B-882E-43CC110AD511}"/>
                  </a:ext>
                </a:extLst>
              </p:cNvPr>
              <p:cNvSpPr/>
              <p:nvPr/>
            </p:nvSpPr>
            <p:spPr>
              <a:xfrm>
                <a:off x="2939247" y="5177645"/>
                <a:ext cx="81723" cy="81723"/>
              </a:xfrm>
              <a:custGeom>
                <a:avLst/>
                <a:gdLst>
                  <a:gd name="connsiteX0" fmla="*/ 40862 w 81723"/>
                  <a:gd name="connsiteY0" fmla="*/ 81723 h 81723"/>
                  <a:gd name="connsiteX1" fmla="*/ 81723 w 81723"/>
                  <a:gd name="connsiteY1" fmla="*/ 40862 h 81723"/>
                  <a:gd name="connsiteX2" fmla="*/ 40862 w 81723"/>
                  <a:gd name="connsiteY2" fmla="*/ 0 h 81723"/>
                  <a:gd name="connsiteX3" fmla="*/ 0 w 81723"/>
                  <a:gd name="connsiteY3" fmla="*/ 40862 h 81723"/>
                  <a:gd name="connsiteX4" fmla="*/ 40862 w 81723"/>
                  <a:gd name="connsiteY4" fmla="*/ 81723 h 81723"/>
                  <a:gd name="connsiteX5" fmla="*/ 40862 w 81723"/>
                  <a:gd name="connsiteY5" fmla="*/ 10848 h 81723"/>
                  <a:gd name="connsiteX6" fmla="*/ 70875 w 81723"/>
                  <a:gd name="connsiteY6" fmla="*/ 40862 h 81723"/>
                  <a:gd name="connsiteX7" fmla="*/ 40862 w 81723"/>
                  <a:gd name="connsiteY7" fmla="*/ 70875 h 81723"/>
                  <a:gd name="connsiteX8" fmla="*/ 10848 w 81723"/>
                  <a:gd name="connsiteY8" fmla="*/ 40862 h 81723"/>
                  <a:gd name="connsiteX9" fmla="*/ 40862 w 81723"/>
                  <a:gd name="connsiteY9" fmla="*/ 10848 h 81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1723" h="81723">
                    <a:moveTo>
                      <a:pt x="40862" y="81723"/>
                    </a:moveTo>
                    <a:cubicBezTo>
                      <a:pt x="63281" y="81723"/>
                      <a:pt x="81723" y="63281"/>
                      <a:pt x="81723" y="40862"/>
                    </a:cubicBezTo>
                    <a:cubicBezTo>
                      <a:pt x="81723" y="18442"/>
                      <a:pt x="63281" y="0"/>
                      <a:pt x="40862" y="0"/>
                    </a:cubicBezTo>
                    <a:cubicBezTo>
                      <a:pt x="18442" y="0"/>
                      <a:pt x="0" y="18442"/>
                      <a:pt x="0" y="40862"/>
                    </a:cubicBezTo>
                    <a:cubicBezTo>
                      <a:pt x="0" y="63281"/>
                      <a:pt x="18080" y="81723"/>
                      <a:pt x="40862" y="81723"/>
                    </a:cubicBezTo>
                    <a:close/>
                    <a:moveTo>
                      <a:pt x="40862" y="10848"/>
                    </a:moveTo>
                    <a:cubicBezTo>
                      <a:pt x="57496" y="10848"/>
                      <a:pt x="70875" y="24228"/>
                      <a:pt x="70875" y="40862"/>
                    </a:cubicBezTo>
                    <a:cubicBezTo>
                      <a:pt x="70875" y="57496"/>
                      <a:pt x="57496" y="70875"/>
                      <a:pt x="40862" y="70875"/>
                    </a:cubicBezTo>
                    <a:cubicBezTo>
                      <a:pt x="24228" y="70875"/>
                      <a:pt x="10848" y="57496"/>
                      <a:pt x="10848" y="40862"/>
                    </a:cubicBezTo>
                    <a:cubicBezTo>
                      <a:pt x="10848" y="24228"/>
                      <a:pt x="24228" y="10848"/>
                      <a:pt x="40862" y="10848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Рисунок 86">
                <a:extLst>
                  <a:ext uri="{FF2B5EF4-FFF2-40B4-BE49-F238E27FC236}">
                    <a16:creationId xmlns:a16="http://schemas.microsoft.com/office/drawing/2014/main" id="{1F08B875-296E-4F6E-83E4-C70C205D2DB9}"/>
                  </a:ext>
                </a:extLst>
              </p:cNvPr>
              <p:cNvSpPr/>
              <p:nvPr/>
            </p:nvSpPr>
            <p:spPr>
              <a:xfrm>
                <a:off x="2810876" y="5177645"/>
                <a:ext cx="81723" cy="81723"/>
              </a:xfrm>
              <a:custGeom>
                <a:avLst/>
                <a:gdLst>
                  <a:gd name="connsiteX0" fmla="*/ 40862 w 81723"/>
                  <a:gd name="connsiteY0" fmla="*/ 81723 h 81723"/>
                  <a:gd name="connsiteX1" fmla="*/ 81723 w 81723"/>
                  <a:gd name="connsiteY1" fmla="*/ 40862 h 81723"/>
                  <a:gd name="connsiteX2" fmla="*/ 40862 w 81723"/>
                  <a:gd name="connsiteY2" fmla="*/ 0 h 81723"/>
                  <a:gd name="connsiteX3" fmla="*/ 0 w 81723"/>
                  <a:gd name="connsiteY3" fmla="*/ 40862 h 81723"/>
                  <a:gd name="connsiteX4" fmla="*/ 40862 w 81723"/>
                  <a:gd name="connsiteY4" fmla="*/ 81723 h 81723"/>
                  <a:gd name="connsiteX5" fmla="*/ 40862 w 81723"/>
                  <a:gd name="connsiteY5" fmla="*/ 10848 h 81723"/>
                  <a:gd name="connsiteX6" fmla="*/ 70875 w 81723"/>
                  <a:gd name="connsiteY6" fmla="*/ 40862 h 81723"/>
                  <a:gd name="connsiteX7" fmla="*/ 40862 w 81723"/>
                  <a:gd name="connsiteY7" fmla="*/ 70875 h 81723"/>
                  <a:gd name="connsiteX8" fmla="*/ 10848 w 81723"/>
                  <a:gd name="connsiteY8" fmla="*/ 40862 h 81723"/>
                  <a:gd name="connsiteX9" fmla="*/ 40862 w 81723"/>
                  <a:gd name="connsiteY9" fmla="*/ 10848 h 81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1723" h="81723">
                    <a:moveTo>
                      <a:pt x="40862" y="81723"/>
                    </a:moveTo>
                    <a:cubicBezTo>
                      <a:pt x="63281" y="81723"/>
                      <a:pt x="81723" y="63281"/>
                      <a:pt x="81723" y="40862"/>
                    </a:cubicBezTo>
                    <a:cubicBezTo>
                      <a:pt x="81723" y="18442"/>
                      <a:pt x="63281" y="0"/>
                      <a:pt x="40862" y="0"/>
                    </a:cubicBezTo>
                    <a:cubicBezTo>
                      <a:pt x="18442" y="0"/>
                      <a:pt x="0" y="18442"/>
                      <a:pt x="0" y="40862"/>
                    </a:cubicBezTo>
                    <a:cubicBezTo>
                      <a:pt x="0" y="63281"/>
                      <a:pt x="18442" y="81723"/>
                      <a:pt x="40862" y="81723"/>
                    </a:cubicBezTo>
                    <a:close/>
                    <a:moveTo>
                      <a:pt x="40862" y="10848"/>
                    </a:moveTo>
                    <a:cubicBezTo>
                      <a:pt x="57496" y="10848"/>
                      <a:pt x="70875" y="24228"/>
                      <a:pt x="70875" y="40862"/>
                    </a:cubicBezTo>
                    <a:cubicBezTo>
                      <a:pt x="70875" y="57496"/>
                      <a:pt x="57496" y="70875"/>
                      <a:pt x="40862" y="70875"/>
                    </a:cubicBezTo>
                    <a:cubicBezTo>
                      <a:pt x="24228" y="70875"/>
                      <a:pt x="10848" y="57496"/>
                      <a:pt x="10848" y="40862"/>
                    </a:cubicBezTo>
                    <a:cubicBezTo>
                      <a:pt x="10848" y="24228"/>
                      <a:pt x="24228" y="10848"/>
                      <a:pt x="40862" y="10848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" name="Рисунок 86">
                <a:extLst>
                  <a:ext uri="{FF2B5EF4-FFF2-40B4-BE49-F238E27FC236}">
                    <a16:creationId xmlns:a16="http://schemas.microsoft.com/office/drawing/2014/main" id="{369BB1E4-F819-430F-93A8-81CF03FF903F}"/>
                  </a:ext>
                </a:extLst>
              </p:cNvPr>
              <p:cNvSpPr/>
              <p:nvPr/>
            </p:nvSpPr>
            <p:spPr>
              <a:xfrm>
                <a:off x="2750849" y="5265877"/>
                <a:ext cx="330509" cy="141027"/>
              </a:xfrm>
              <a:custGeom>
                <a:avLst/>
                <a:gdLst>
                  <a:gd name="connsiteX0" fmla="*/ 325086 w 330509"/>
                  <a:gd name="connsiteY0" fmla="*/ 73045 h 141027"/>
                  <a:gd name="connsiteX1" fmla="*/ 298327 w 330509"/>
                  <a:gd name="connsiteY1" fmla="*/ 73045 h 141027"/>
                  <a:gd name="connsiteX2" fmla="*/ 279885 w 330509"/>
                  <a:gd name="connsiteY2" fmla="*/ 30737 h 141027"/>
                  <a:gd name="connsiteX3" fmla="*/ 279885 w 330509"/>
                  <a:gd name="connsiteY3" fmla="*/ 5424 h 141027"/>
                  <a:gd name="connsiteX4" fmla="*/ 274460 w 330509"/>
                  <a:gd name="connsiteY4" fmla="*/ 0 h 141027"/>
                  <a:gd name="connsiteX5" fmla="*/ 183697 w 330509"/>
                  <a:gd name="connsiteY5" fmla="*/ 0 h 141027"/>
                  <a:gd name="connsiteX6" fmla="*/ 178273 w 330509"/>
                  <a:gd name="connsiteY6" fmla="*/ 5424 h 141027"/>
                  <a:gd name="connsiteX7" fmla="*/ 178273 w 330509"/>
                  <a:gd name="connsiteY7" fmla="*/ 30737 h 141027"/>
                  <a:gd name="connsiteX8" fmla="*/ 165616 w 330509"/>
                  <a:gd name="connsiteY8" fmla="*/ 48455 h 141027"/>
                  <a:gd name="connsiteX9" fmla="*/ 165255 w 330509"/>
                  <a:gd name="connsiteY9" fmla="*/ 48455 h 141027"/>
                  <a:gd name="connsiteX10" fmla="*/ 164532 w 330509"/>
                  <a:gd name="connsiteY10" fmla="*/ 48455 h 141027"/>
                  <a:gd name="connsiteX11" fmla="*/ 101250 w 330509"/>
                  <a:gd name="connsiteY11" fmla="*/ 10125 h 141027"/>
                  <a:gd name="connsiteX12" fmla="*/ 37607 w 330509"/>
                  <a:gd name="connsiteY12" fmla="*/ 48455 h 141027"/>
                  <a:gd name="connsiteX13" fmla="*/ 36884 w 330509"/>
                  <a:gd name="connsiteY13" fmla="*/ 48455 h 141027"/>
                  <a:gd name="connsiteX14" fmla="*/ 31460 w 330509"/>
                  <a:gd name="connsiteY14" fmla="*/ 53880 h 141027"/>
                  <a:gd name="connsiteX15" fmla="*/ 31460 w 330509"/>
                  <a:gd name="connsiteY15" fmla="*/ 73045 h 141027"/>
                  <a:gd name="connsiteX16" fmla="*/ 5424 w 330509"/>
                  <a:gd name="connsiteY16" fmla="*/ 73045 h 141027"/>
                  <a:gd name="connsiteX17" fmla="*/ 0 w 330509"/>
                  <a:gd name="connsiteY17" fmla="*/ 78469 h 141027"/>
                  <a:gd name="connsiteX18" fmla="*/ 5424 w 330509"/>
                  <a:gd name="connsiteY18" fmla="*/ 83893 h 141027"/>
                  <a:gd name="connsiteX19" fmla="*/ 18080 w 330509"/>
                  <a:gd name="connsiteY19" fmla="*/ 83893 h 141027"/>
                  <a:gd name="connsiteX20" fmla="*/ 18080 w 330509"/>
                  <a:gd name="connsiteY20" fmla="*/ 135603 h 141027"/>
                  <a:gd name="connsiteX21" fmla="*/ 23505 w 330509"/>
                  <a:gd name="connsiteY21" fmla="*/ 141027 h 141027"/>
                  <a:gd name="connsiteX22" fmla="*/ 28929 w 330509"/>
                  <a:gd name="connsiteY22" fmla="*/ 135603 h 141027"/>
                  <a:gd name="connsiteX23" fmla="*/ 28929 w 330509"/>
                  <a:gd name="connsiteY23" fmla="*/ 83893 h 141027"/>
                  <a:gd name="connsiteX24" fmla="*/ 31460 w 330509"/>
                  <a:gd name="connsiteY24" fmla="*/ 83893 h 141027"/>
                  <a:gd name="connsiteX25" fmla="*/ 31460 w 330509"/>
                  <a:gd name="connsiteY25" fmla="*/ 135603 h 141027"/>
                  <a:gd name="connsiteX26" fmla="*/ 36884 w 330509"/>
                  <a:gd name="connsiteY26" fmla="*/ 141027 h 141027"/>
                  <a:gd name="connsiteX27" fmla="*/ 165255 w 330509"/>
                  <a:gd name="connsiteY27" fmla="*/ 141027 h 141027"/>
                  <a:gd name="connsiteX28" fmla="*/ 170679 w 330509"/>
                  <a:gd name="connsiteY28" fmla="*/ 135603 h 141027"/>
                  <a:gd name="connsiteX29" fmla="*/ 170679 w 330509"/>
                  <a:gd name="connsiteY29" fmla="*/ 83893 h 141027"/>
                  <a:gd name="connsiteX30" fmla="*/ 292902 w 330509"/>
                  <a:gd name="connsiteY30" fmla="*/ 83893 h 141027"/>
                  <a:gd name="connsiteX31" fmla="*/ 301581 w 330509"/>
                  <a:gd name="connsiteY31" fmla="*/ 83893 h 141027"/>
                  <a:gd name="connsiteX32" fmla="*/ 301581 w 330509"/>
                  <a:gd name="connsiteY32" fmla="*/ 135603 h 141027"/>
                  <a:gd name="connsiteX33" fmla="*/ 307005 w 330509"/>
                  <a:gd name="connsiteY33" fmla="*/ 141027 h 141027"/>
                  <a:gd name="connsiteX34" fmla="*/ 312429 w 330509"/>
                  <a:gd name="connsiteY34" fmla="*/ 135603 h 141027"/>
                  <a:gd name="connsiteX35" fmla="*/ 312429 w 330509"/>
                  <a:gd name="connsiteY35" fmla="*/ 83893 h 141027"/>
                  <a:gd name="connsiteX36" fmla="*/ 325086 w 330509"/>
                  <a:gd name="connsiteY36" fmla="*/ 83893 h 141027"/>
                  <a:gd name="connsiteX37" fmla="*/ 330510 w 330509"/>
                  <a:gd name="connsiteY37" fmla="*/ 78469 h 141027"/>
                  <a:gd name="connsiteX38" fmla="*/ 325086 w 330509"/>
                  <a:gd name="connsiteY38" fmla="*/ 73045 h 141027"/>
                  <a:gd name="connsiteX39" fmla="*/ 189121 w 330509"/>
                  <a:gd name="connsiteY39" fmla="*/ 10848 h 141027"/>
                  <a:gd name="connsiteX40" fmla="*/ 269398 w 330509"/>
                  <a:gd name="connsiteY40" fmla="*/ 10848 h 141027"/>
                  <a:gd name="connsiteX41" fmla="*/ 269398 w 330509"/>
                  <a:gd name="connsiteY41" fmla="*/ 73045 h 141027"/>
                  <a:gd name="connsiteX42" fmla="*/ 189121 w 330509"/>
                  <a:gd name="connsiteY42" fmla="*/ 73045 h 141027"/>
                  <a:gd name="connsiteX43" fmla="*/ 189121 w 330509"/>
                  <a:gd name="connsiteY43" fmla="*/ 10848 h 141027"/>
                  <a:gd name="connsiteX44" fmla="*/ 100889 w 330509"/>
                  <a:gd name="connsiteY44" fmla="*/ 20612 h 141027"/>
                  <a:gd name="connsiteX45" fmla="*/ 151875 w 330509"/>
                  <a:gd name="connsiteY45" fmla="*/ 48094 h 141027"/>
                  <a:gd name="connsiteX46" fmla="*/ 49902 w 330509"/>
                  <a:gd name="connsiteY46" fmla="*/ 48094 h 141027"/>
                  <a:gd name="connsiteX47" fmla="*/ 100889 w 330509"/>
                  <a:gd name="connsiteY47" fmla="*/ 20612 h 141027"/>
                  <a:gd name="connsiteX48" fmla="*/ 42308 w 330509"/>
                  <a:gd name="connsiteY48" fmla="*/ 130179 h 141027"/>
                  <a:gd name="connsiteX49" fmla="*/ 42308 w 330509"/>
                  <a:gd name="connsiteY49" fmla="*/ 58942 h 141027"/>
                  <a:gd name="connsiteX50" fmla="*/ 159831 w 330509"/>
                  <a:gd name="connsiteY50" fmla="*/ 58942 h 141027"/>
                  <a:gd name="connsiteX51" fmla="*/ 159831 w 330509"/>
                  <a:gd name="connsiteY51" fmla="*/ 69429 h 141027"/>
                  <a:gd name="connsiteX52" fmla="*/ 159469 w 330509"/>
                  <a:gd name="connsiteY52" fmla="*/ 74130 h 141027"/>
                  <a:gd name="connsiteX53" fmla="*/ 159831 w 330509"/>
                  <a:gd name="connsiteY53" fmla="*/ 78107 h 141027"/>
                  <a:gd name="connsiteX54" fmla="*/ 159831 w 330509"/>
                  <a:gd name="connsiteY54" fmla="*/ 129456 h 141027"/>
                  <a:gd name="connsiteX55" fmla="*/ 42308 w 330509"/>
                  <a:gd name="connsiteY55" fmla="*/ 129456 h 141027"/>
                  <a:gd name="connsiteX56" fmla="*/ 170679 w 330509"/>
                  <a:gd name="connsiteY56" fmla="*/ 70152 h 141027"/>
                  <a:gd name="connsiteX57" fmla="*/ 178273 w 330509"/>
                  <a:gd name="connsiteY57" fmla="*/ 47732 h 141027"/>
                  <a:gd name="connsiteX58" fmla="*/ 178273 w 330509"/>
                  <a:gd name="connsiteY58" fmla="*/ 73045 h 141027"/>
                  <a:gd name="connsiteX59" fmla="*/ 170679 w 330509"/>
                  <a:gd name="connsiteY59" fmla="*/ 73045 h 141027"/>
                  <a:gd name="connsiteX60" fmla="*/ 170679 w 330509"/>
                  <a:gd name="connsiteY60" fmla="*/ 70152 h 141027"/>
                  <a:gd name="connsiteX61" fmla="*/ 280246 w 330509"/>
                  <a:gd name="connsiteY61" fmla="*/ 73045 h 141027"/>
                  <a:gd name="connsiteX62" fmla="*/ 280246 w 330509"/>
                  <a:gd name="connsiteY62" fmla="*/ 48094 h 141027"/>
                  <a:gd name="connsiteX63" fmla="*/ 287840 w 330509"/>
                  <a:gd name="connsiteY63" fmla="*/ 73045 h 141027"/>
                  <a:gd name="connsiteX64" fmla="*/ 280246 w 330509"/>
                  <a:gd name="connsiteY64" fmla="*/ 73045 h 141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30509" h="141027">
                    <a:moveTo>
                      <a:pt x="325086" y="73045"/>
                    </a:moveTo>
                    <a:lnTo>
                      <a:pt x="298327" y="73045"/>
                    </a:lnTo>
                    <a:cubicBezTo>
                      <a:pt x="297965" y="57134"/>
                      <a:pt x="291456" y="42308"/>
                      <a:pt x="279885" y="30737"/>
                    </a:cubicBezTo>
                    <a:lnTo>
                      <a:pt x="279885" y="5424"/>
                    </a:lnTo>
                    <a:cubicBezTo>
                      <a:pt x="279885" y="2531"/>
                      <a:pt x="277353" y="0"/>
                      <a:pt x="274460" y="0"/>
                    </a:cubicBezTo>
                    <a:lnTo>
                      <a:pt x="183697" y="0"/>
                    </a:lnTo>
                    <a:cubicBezTo>
                      <a:pt x="180804" y="0"/>
                      <a:pt x="178273" y="2531"/>
                      <a:pt x="178273" y="5424"/>
                    </a:cubicBezTo>
                    <a:lnTo>
                      <a:pt x="178273" y="30737"/>
                    </a:lnTo>
                    <a:cubicBezTo>
                      <a:pt x="172849" y="36161"/>
                      <a:pt x="168871" y="41947"/>
                      <a:pt x="165616" y="48455"/>
                    </a:cubicBezTo>
                    <a:cubicBezTo>
                      <a:pt x="165616" y="48455"/>
                      <a:pt x="165255" y="48455"/>
                      <a:pt x="165255" y="48455"/>
                    </a:cubicBezTo>
                    <a:lnTo>
                      <a:pt x="164532" y="48455"/>
                    </a:lnTo>
                    <a:cubicBezTo>
                      <a:pt x="153322" y="25313"/>
                      <a:pt x="128371" y="10125"/>
                      <a:pt x="101250" y="10125"/>
                    </a:cubicBezTo>
                    <a:cubicBezTo>
                      <a:pt x="73768" y="10125"/>
                      <a:pt x="48817" y="25313"/>
                      <a:pt x="37607" y="48455"/>
                    </a:cubicBezTo>
                    <a:lnTo>
                      <a:pt x="36884" y="48455"/>
                    </a:lnTo>
                    <a:cubicBezTo>
                      <a:pt x="33991" y="48455"/>
                      <a:pt x="31460" y="50987"/>
                      <a:pt x="31460" y="53880"/>
                    </a:cubicBezTo>
                    <a:lnTo>
                      <a:pt x="31460" y="73045"/>
                    </a:lnTo>
                    <a:lnTo>
                      <a:pt x="5424" y="73045"/>
                    </a:lnTo>
                    <a:cubicBezTo>
                      <a:pt x="2531" y="73045"/>
                      <a:pt x="0" y="75576"/>
                      <a:pt x="0" y="78469"/>
                    </a:cubicBezTo>
                    <a:cubicBezTo>
                      <a:pt x="0" y="81362"/>
                      <a:pt x="2531" y="83893"/>
                      <a:pt x="5424" y="83893"/>
                    </a:cubicBezTo>
                    <a:lnTo>
                      <a:pt x="18080" y="83893"/>
                    </a:lnTo>
                    <a:lnTo>
                      <a:pt x="18080" y="135603"/>
                    </a:lnTo>
                    <a:cubicBezTo>
                      <a:pt x="18080" y="138496"/>
                      <a:pt x="20612" y="141027"/>
                      <a:pt x="23505" y="141027"/>
                    </a:cubicBezTo>
                    <a:cubicBezTo>
                      <a:pt x="26397" y="141027"/>
                      <a:pt x="28929" y="138496"/>
                      <a:pt x="28929" y="135603"/>
                    </a:cubicBezTo>
                    <a:lnTo>
                      <a:pt x="28929" y="83893"/>
                    </a:lnTo>
                    <a:lnTo>
                      <a:pt x="31460" y="83893"/>
                    </a:lnTo>
                    <a:lnTo>
                      <a:pt x="31460" y="135603"/>
                    </a:lnTo>
                    <a:cubicBezTo>
                      <a:pt x="31460" y="138496"/>
                      <a:pt x="33991" y="141027"/>
                      <a:pt x="36884" y="141027"/>
                    </a:cubicBezTo>
                    <a:lnTo>
                      <a:pt x="165255" y="141027"/>
                    </a:lnTo>
                    <a:cubicBezTo>
                      <a:pt x="168148" y="141027"/>
                      <a:pt x="170679" y="138496"/>
                      <a:pt x="170679" y="135603"/>
                    </a:cubicBezTo>
                    <a:lnTo>
                      <a:pt x="170679" y="83893"/>
                    </a:lnTo>
                    <a:lnTo>
                      <a:pt x="292902" y="83893"/>
                    </a:lnTo>
                    <a:lnTo>
                      <a:pt x="301581" y="83893"/>
                    </a:lnTo>
                    <a:lnTo>
                      <a:pt x="301581" y="135603"/>
                    </a:lnTo>
                    <a:cubicBezTo>
                      <a:pt x="301581" y="138496"/>
                      <a:pt x="304112" y="141027"/>
                      <a:pt x="307005" y="141027"/>
                    </a:cubicBezTo>
                    <a:cubicBezTo>
                      <a:pt x="309898" y="141027"/>
                      <a:pt x="312429" y="138496"/>
                      <a:pt x="312429" y="135603"/>
                    </a:cubicBezTo>
                    <a:lnTo>
                      <a:pt x="312429" y="83893"/>
                    </a:lnTo>
                    <a:lnTo>
                      <a:pt x="325086" y="83893"/>
                    </a:lnTo>
                    <a:cubicBezTo>
                      <a:pt x="327978" y="83893"/>
                      <a:pt x="330510" y="81362"/>
                      <a:pt x="330510" y="78469"/>
                    </a:cubicBezTo>
                    <a:cubicBezTo>
                      <a:pt x="330510" y="75214"/>
                      <a:pt x="327978" y="73045"/>
                      <a:pt x="325086" y="73045"/>
                    </a:cubicBezTo>
                    <a:close/>
                    <a:moveTo>
                      <a:pt x="189121" y="10848"/>
                    </a:moveTo>
                    <a:lnTo>
                      <a:pt x="269398" y="10848"/>
                    </a:lnTo>
                    <a:lnTo>
                      <a:pt x="269398" y="73045"/>
                    </a:lnTo>
                    <a:lnTo>
                      <a:pt x="189121" y="73045"/>
                    </a:lnTo>
                    <a:lnTo>
                      <a:pt x="189121" y="10848"/>
                    </a:lnTo>
                    <a:close/>
                    <a:moveTo>
                      <a:pt x="100889" y="20612"/>
                    </a:moveTo>
                    <a:cubicBezTo>
                      <a:pt x="122224" y="20612"/>
                      <a:pt x="141750" y="31460"/>
                      <a:pt x="151875" y="48094"/>
                    </a:cubicBezTo>
                    <a:lnTo>
                      <a:pt x="49902" y="48094"/>
                    </a:lnTo>
                    <a:cubicBezTo>
                      <a:pt x="60027" y="31460"/>
                      <a:pt x="79554" y="20612"/>
                      <a:pt x="100889" y="20612"/>
                    </a:cubicBezTo>
                    <a:close/>
                    <a:moveTo>
                      <a:pt x="42308" y="130179"/>
                    </a:moveTo>
                    <a:lnTo>
                      <a:pt x="42308" y="58942"/>
                    </a:lnTo>
                    <a:lnTo>
                      <a:pt x="159831" y="58942"/>
                    </a:lnTo>
                    <a:lnTo>
                      <a:pt x="159831" y="69429"/>
                    </a:lnTo>
                    <a:cubicBezTo>
                      <a:pt x="159831" y="70875"/>
                      <a:pt x="159469" y="72683"/>
                      <a:pt x="159469" y="74130"/>
                    </a:cubicBezTo>
                    <a:cubicBezTo>
                      <a:pt x="159469" y="75576"/>
                      <a:pt x="159469" y="76661"/>
                      <a:pt x="159831" y="78107"/>
                    </a:cubicBezTo>
                    <a:lnTo>
                      <a:pt x="159831" y="129456"/>
                    </a:lnTo>
                    <a:lnTo>
                      <a:pt x="42308" y="129456"/>
                    </a:lnTo>
                    <a:close/>
                    <a:moveTo>
                      <a:pt x="170679" y="70152"/>
                    </a:moveTo>
                    <a:cubicBezTo>
                      <a:pt x="171402" y="62197"/>
                      <a:pt x="173933" y="54603"/>
                      <a:pt x="178273" y="47732"/>
                    </a:cubicBezTo>
                    <a:lnTo>
                      <a:pt x="178273" y="73045"/>
                    </a:lnTo>
                    <a:lnTo>
                      <a:pt x="170679" y="73045"/>
                    </a:lnTo>
                    <a:lnTo>
                      <a:pt x="170679" y="70152"/>
                    </a:lnTo>
                    <a:close/>
                    <a:moveTo>
                      <a:pt x="280246" y="73045"/>
                    </a:moveTo>
                    <a:lnTo>
                      <a:pt x="280246" y="48094"/>
                    </a:lnTo>
                    <a:cubicBezTo>
                      <a:pt x="284947" y="55688"/>
                      <a:pt x="287478" y="64005"/>
                      <a:pt x="287840" y="73045"/>
                    </a:cubicBezTo>
                    <a:lnTo>
                      <a:pt x="280246" y="73045"/>
                    </a:ln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014408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DB5BFB53-1CF7-4949-91D7-133BA02549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DB5BFB53-1CF7-4949-91D7-133BA0254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E965CCE-13E3-144C-B0A3-01033C014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332399"/>
          </a:xfrm>
        </p:spPr>
        <p:txBody>
          <a:bodyPr vert="horz"/>
          <a:lstStyle/>
          <a:p>
            <a:r>
              <a:rPr lang="ru-RU" dirty="0" smtClean="0"/>
              <a:t>Эффект</a:t>
            </a:r>
            <a:endParaRPr lang="ru-RU" dirty="0"/>
          </a:p>
        </p:txBody>
      </p:sp>
      <p:sp>
        <p:nvSpPr>
          <p:cNvPr id="16" name="Текст 15">
            <a:extLst>
              <a:ext uri="{FF2B5EF4-FFF2-40B4-BE49-F238E27FC236}">
                <a16:creationId xmlns:a16="http://schemas.microsoft.com/office/drawing/2014/main" id="{810D648A-EB12-5442-A099-B487F38E29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587CC7E4-E3C5-F742-9555-BE46CA575F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3855" y="6356349"/>
            <a:ext cx="3385837" cy="360000"/>
          </a:xfrm>
        </p:spPr>
        <p:txBody>
          <a:bodyPr/>
          <a:lstStyle/>
          <a:p>
            <a:r>
              <a:rPr lang="ru-RU"/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  <a:endParaRPr lang="ru-RU" dirty="0"/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0FBDAF3B-D2AE-4C4E-BF90-8F947615DFF6}"/>
              </a:ext>
            </a:extLst>
          </p:cNvPr>
          <p:cNvGrpSpPr/>
          <p:nvPr/>
        </p:nvGrpSpPr>
        <p:grpSpPr>
          <a:xfrm>
            <a:off x="812115" y="3387300"/>
            <a:ext cx="3519985" cy="2060524"/>
            <a:chOff x="812115" y="3387300"/>
            <a:chExt cx="3519985" cy="2060524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51C29C4-0255-574D-AFB9-6A2DB44967D0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816527" y="3662720"/>
              <a:ext cx="3515573" cy="178510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108000" indent="-108000" defTabSz="914400">
                <a:spcAft>
                  <a:spcPts val="6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  <a:defRPr sz="1000">
                  <a:solidFill>
                    <a:srgbClr val="495359"/>
                  </a:solidFill>
                </a:defRPr>
              </a:lvl1pPr>
            </a:lstStyle>
            <a:p>
              <a:pPr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defRPr/>
              </a:pPr>
              <a:r>
                <a:rPr lang="ru-RU" sz="1200" dirty="0">
                  <a:solidFill>
                    <a:schemeClr val="tx1"/>
                  </a:solidFill>
                  <a:ea typeface="Euclid Circular A" panose="020B0504000000000000" pitchFamily="34" charset="-52"/>
                </a:rPr>
                <a:t>Повышение качественного уровня подготовки абитуриентов</a:t>
              </a:r>
            </a:p>
            <a:p>
              <a:pPr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defRPr/>
              </a:pPr>
              <a:r>
                <a:rPr lang="ru-RU" sz="1200" dirty="0">
                  <a:solidFill>
                    <a:schemeClr val="tx1"/>
                  </a:solidFill>
                  <a:ea typeface="Euclid Circular A" panose="020B0504000000000000" pitchFamily="34" charset="-52"/>
                </a:rPr>
                <a:t>Повышение мотивации у школьников работать в организациях Компании после получения соответствующего образования</a:t>
              </a:r>
            </a:p>
            <a:p>
              <a:pPr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defRPr/>
              </a:pPr>
              <a:r>
                <a:rPr lang="ru-RU" sz="1200" dirty="0">
                  <a:solidFill>
                    <a:schemeClr val="tx1"/>
                  </a:solidFill>
                  <a:ea typeface="Euclid Circular A" panose="020B0504000000000000" pitchFamily="34" charset="-52"/>
                </a:rPr>
                <a:t>Создание во всех регионах присутствия УГМК единых принципов ведения работы со школьниками</a:t>
              </a:r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DCEC277B-5FC2-8D4A-B2D7-D8A37C550A63}"/>
                </a:ext>
              </a:extLst>
            </p:cNvPr>
            <p:cNvSpPr/>
            <p:nvPr/>
          </p:nvSpPr>
          <p:spPr>
            <a:xfrm>
              <a:off x="812115" y="3387300"/>
              <a:ext cx="2328266" cy="215444"/>
            </a:xfrm>
            <a:prstGeom prst="rect">
              <a:avLst/>
            </a:prstGeom>
          </p:spPr>
          <p:txBody>
            <a:bodyPr wrap="none" lIns="0" tIns="0" rIns="0" bIns="0" anchor="b">
              <a:spAutoFit/>
            </a:bodyPr>
            <a:lstStyle/>
            <a:p>
              <a:pPr>
                <a:spcBef>
                  <a:spcPts val="1200"/>
                </a:spcBef>
              </a:pPr>
              <a:r>
                <a:rPr lang="ru-RU" sz="1400" b="1" dirty="0" smtClean="0"/>
                <a:t>Планируемые результаты</a:t>
              </a:r>
              <a:endParaRPr lang="ru-RU" sz="1400" b="1" dirty="0"/>
            </a:p>
          </p:txBody>
        </p: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2C89D5C2-0288-9847-AAD4-3832335E036E}"/>
              </a:ext>
            </a:extLst>
          </p:cNvPr>
          <p:cNvGrpSpPr/>
          <p:nvPr/>
        </p:nvGrpSpPr>
        <p:grpSpPr>
          <a:xfrm>
            <a:off x="8523875" y="1088620"/>
            <a:ext cx="2864855" cy="2071946"/>
            <a:chOff x="8523875" y="1088620"/>
            <a:chExt cx="2864855" cy="2071946"/>
          </a:xfrm>
        </p:grpSpPr>
        <p:sp>
          <p:nvSpPr>
            <p:cNvPr id="9" name="Полилиния 8">
              <a:extLst>
                <a:ext uri="{FF2B5EF4-FFF2-40B4-BE49-F238E27FC236}">
                  <a16:creationId xmlns:a16="http://schemas.microsoft.com/office/drawing/2014/main" id="{240226A7-6180-8F4B-BC69-D4C79415D25F}"/>
                </a:ext>
              </a:extLst>
            </p:cNvPr>
            <p:cNvSpPr/>
            <p:nvPr/>
          </p:nvSpPr>
          <p:spPr>
            <a:xfrm rot="16200000">
              <a:off x="9043999" y="600486"/>
              <a:ext cx="1856598" cy="2832865"/>
            </a:xfrm>
            <a:custGeom>
              <a:avLst/>
              <a:gdLst>
                <a:gd name="connsiteX0" fmla="*/ 1173679 w 1173679"/>
                <a:gd name="connsiteY0" fmla="*/ 0 h 2293659"/>
                <a:gd name="connsiteX1" fmla="*/ 1173678 w 1173679"/>
                <a:gd name="connsiteY1" fmla="*/ 2293659 h 2293659"/>
                <a:gd name="connsiteX2" fmla="*/ 1173676 w 1173679"/>
                <a:gd name="connsiteY2" fmla="*/ 2293659 h 2293659"/>
                <a:gd name="connsiteX3" fmla="*/ 586840 w 1173679"/>
                <a:gd name="connsiteY3" fmla="*/ 1755139 h 2293659"/>
                <a:gd name="connsiteX4" fmla="*/ 3 w 1173679"/>
                <a:gd name="connsiteY4" fmla="*/ 2293659 h 2293659"/>
                <a:gd name="connsiteX5" fmla="*/ 0 w 1173679"/>
                <a:gd name="connsiteY5" fmla="*/ 2293659 h 2293659"/>
                <a:gd name="connsiteX6" fmla="*/ 1 w 1173679"/>
                <a:gd name="connsiteY6" fmla="*/ 0 h 2293659"/>
                <a:gd name="connsiteX7" fmla="*/ 1173679 w 1173679"/>
                <a:gd name="connsiteY7" fmla="*/ 0 h 2293659"/>
                <a:gd name="connsiteX0" fmla="*/ 1173679 w 1173679"/>
                <a:gd name="connsiteY0" fmla="*/ 0 h 2293659"/>
                <a:gd name="connsiteX1" fmla="*/ 1173678 w 1173679"/>
                <a:gd name="connsiteY1" fmla="*/ 2293659 h 2293659"/>
                <a:gd name="connsiteX2" fmla="*/ 1173676 w 1173679"/>
                <a:gd name="connsiteY2" fmla="*/ 2293659 h 2293659"/>
                <a:gd name="connsiteX3" fmla="*/ 586842 w 1173679"/>
                <a:gd name="connsiteY3" fmla="*/ 1989888 h 2293659"/>
                <a:gd name="connsiteX4" fmla="*/ 3 w 1173679"/>
                <a:gd name="connsiteY4" fmla="*/ 2293659 h 2293659"/>
                <a:gd name="connsiteX5" fmla="*/ 0 w 1173679"/>
                <a:gd name="connsiteY5" fmla="*/ 2293659 h 2293659"/>
                <a:gd name="connsiteX6" fmla="*/ 1 w 1173679"/>
                <a:gd name="connsiteY6" fmla="*/ 0 h 2293659"/>
                <a:gd name="connsiteX7" fmla="*/ 1173679 w 1173679"/>
                <a:gd name="connsiteY7" fmla="*/ 0 h 229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73679" h="2293659">
                  <a:moveTo>
                    <a:pt x="1173679" y="0"/>
                  </a:moveTo>
                  <a:cubicBezTo>
                    <a:pt x="1173679" y="764553"/>
                    <a:pt x="1173678" y="1529106"/>
                    <a:pt x="1173678" y="2293659"/>
                  </a:cubicBezTo>
                  <a:lnTo>
                    <a:pt x="1173676" y="2293659"/>
                  </a:lnTo>
                  <a:lnTo>
                    <a:pt x="586842" y="1989888"/>
                  </a:lnTo>
                  <a:lnTo>
                    <a:pt x="3" y="2293659"/>
                  </a:lnTo>
                  <a:lnTo>
                    <a:pt x="0" y="2293659"/>
                  </a:lnTo>
                  <a:cubicBezTo>
                    <a:pt x="0" y="1529106"/>
                    <a:pt x="1" y="764553"/>
                    <a:pt x="1" y="0"/>
                  </a:cubicBezTo>
                  <a:lnTo>
                    <a:pt x="1173679" y="0"/>
                  </a:ln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 dirty="0"/>
            </a:p>
          </p:txBody>
        </p: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A66EED39-D3BA-8F4E-8FA0-4BBA35DB622F}"/>
                </a:ext>
              </a:extLst>
            </p:cNvPr>
            <p:cNvCxnSpPr>
              <a:cxnSpLocks/>
            </p:cNvCxnSpPr>
            <p:nvPr/>
          </p:nvCxnSpPr>
          <p:spPr>
            <a:xfrm>
              <a:off x="8523875" y="1089025"/>
              <a:ext cx="0" cy="2071541"/>
            </a:xfrm>
            <a:prstGeom prst="line">
              <a:avLst/>
            </a:prstGeom>
            <a:ln w="69850" cap="rnd">
              <a:solidFill>
                <a:schemeClr val="accent3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0FAE5ED-4B39-9644-89AB-25A3A71DA4BC}"/>
                </a:ext>
              </a:extLst>
            </p:cNvPr>
            <p:cNvSpPr txBox="1"/>
            <p:nvPr/>
          </p:nvSpPr>
          <p:spPr>
            <a:xfrm>
              <a:off x="8850942" y="1526104"/>
              <a:ext cx="1862808" cy="92333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ru-RU" sz="1200" b="1" dirty="0" smtClean="0"/>
                <a:t>Цель:</a:t>
              </a:r>
              <a:endParaRPr lang="ru-RU" sz="1200" b="1" dirty="0"/>
            </a:p>
            <a:p>
              <a:pPr algn="ctr"/>
              <a:r>
                <a:rPr lang="ru-RU" sz="1200" dirty="0" smtClean="0"/>
                <a:t>100-130 выпускников ежегодно трудоустраиваются в организации УГМК</a:t>
              </a:r>
              <a:endParaRPr lang="ru-RU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445241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DA96D081-A6CD-584C-81C6-5E912B75AB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DA96D081-A6CD-584C-81C6-5E912B75A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83B683B-8CB6-FC48-9142-EE4973503AD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/>
          <a:srcRect l="20830" r="8002"/>
          <a:stretch/>
        </p:blipFill>
        <p:spPr>
          <a:xfrm>
            <a:off x="4864100" y="-3175"/>
            <a:ext cx="7327900" cy="6864350"/>
          </a:xfrm>
        </p:spPr>
      </p:pic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A344A5D9-2B31-344E-8860-83102B6C3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3803239" cy="685801"/>
          </a:xfrm>
        </p:spPr>
        <p:txBody>
          <a:bodyPr vert="horz">
            <a:normAutofit/>
          </a:bodyPr>
          <a:lstStyle/>
          <a:p>
            <a:r>
              <a:rPr lang="ru-RU" dirty="0" smtClean="0"/>
              <a:t>Контактные данные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B23F5CD-115C-6A40-A6C5-5E0EEBFD6FBF}"/>
              </a:ext>
            </a:extLst>
          </p:cNvPr>
          <p:cNvSpPr txBox="1"/>
          <p:nvPr/>
        </p:nvSpPr>
        <p:spPr>
          <a:xfrm>
            <a:off x="1577948" y="5872348"/>
            <a:ext cx="3173483" cy="369332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ru-RU"/>
            </a:defPPr>
            <a:lvl1pPr>
              <a:spcAft>
                <a:spcPts val="1200"/>
              </a:spcAft>
              <a:defRPr sz="1600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pPr>
              <a:spcAft>
                <a:spcPts val="0"/>
              </a:spcAft>
            </a:pPr>
            <a:r>
              <a:rPr lang="en-US" sz="1200" dirty="0">
                <a:solidFill>
                  <a:schemeClr val="tx1"/>
                </a:solidFill>
              </a:rPr>
              <a:t>e-mail: </a:t>
            </a:r>
            <a:r>
              <a:rPr lang="en-US" sz="1200" dirty="0" smtClean="0">
                <a:solidFill>
                  <a:schemeClr val="tx1"/>
                </a:solidFill>
              </a:rPr>
              <a:t>i.osipova@ugmk.com</a:t>
            </a:r>
            <a:r>
              <a:rPr lang="ru-RU" sz="1200" dirty="0">
                <a:solidFill>
                  <a:schemeClr val="tx1"/>
                </a:solidFill>
              </a:rPr>
              <a:t/>
            </a:r>
            <a:br>
              <a:rPr lang="ru-RU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www.ugmk.com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6" name="ee4pHeader1">
            <a:extLst>
              <a:ext uri="{FF2B5EF4-FFF2-40B4-BE49-F238E27FC236}">
                <a16:creationId xmlns:a16="http://schemas.microsoft.com/office/drawing/2014/main" id="{3DEF7D7E-DE31-9D43-BE25-C35B9A46BA00}"/>
              </a:ext>
            </a:extLst>
          </p:cNvPr>
          <p:cNvSpPr txBox="1"/>
          <p:nvPr/>
        </p:nvSpPr>
        <p:spPr>
          <a:xfrm>
            <a:off x="822970" y="1369946"/>
            <a:ext cx="4041130" cy="615553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sz="2000" b="1" dirty="0">
                <a:solidFill>
                  <a:schemeClr val="accent1"/>
                </a:solidFill>
              </a:rPr>
              <a:t>ОАО «Уральская горно-металлургическая компания»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138CC8-879A-D847-A296-C5EF31F2D684}"/>
              </a:ext>
            </a:extLst>
          </p:cNvPr>
          <p:cNvSpPr txBox="1"/>
          <p:nvPr/>
        </p:nvSpPr>
        <p:spPr>
          <a:xfrm>
            <a:off x="1528135" y="5042308"/>
            <a:ext cx="3171934" cy="369332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ru-RU"/>
            </a:defPPr>
            <a:lvl1pPr>
              <a:spcAft>
                <a:spcPts val="1200"/>
              </a:spcAft>
              <a:defRPr sz="1600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pPr>
              <a:spcAft>
                <a:spcPts val="0"/>
              </a:spcAft>
            </a:pPr>
            <a:r>
              <a:rPr lang="ru-RU" sz="1200" dirty="0">
                <a:solidFill>
                  <a:schemeClr val="tx1"/>
                </a:solidFill>
              </a:rPr>
              <a:t>+7 (34368) </a:t>
            </a:r>
            <a:r>
              <a:rPr lang="ru-RU" sz="1200" dirty="0" smtClean="0">
                <a:solidFill>
                  <a:schemeClr val="tx1"/>
                </a:solidFill>
              </a:rPr>
              <a:t>78366</a:t>
            </a:r>
            <a:endParaRPr lang="en-US" sz="1200" dirty="0" smtClean="0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</a:pPr>
            <a:r>
              <a:rPr lang="ru-RU" sz="1200" dirty="0">
                <a:solidFill>
                  <a:schemeClr val="tx1"/>
                </a:solidFill>
              </a:rPr>
              <a:t>+7 (922) 225 55 78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D3B8EDC-6CCA-C34C-891C-1C0767CDA135}"/>
              </a:ext>
            </a:extLst>
          </p:cNvPr>
          <p:cNvSpPr txBox="1"/>
          <p:nvPr/>
        </p:nvSpPr>
        <p:spPr>
          <a:xfrm>
            <a:off x="1583087" y="2327482"/>
            <a:ext cx="3173483" cy="369332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ru-RU"/>
            </a:defPPr>
            <a:lvl1pPr>
              <a:spcAft>
                <a:spcPts val="1200"/>
              </a:spcAft>
              <a:defRPr sz="1600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r>
              <a:rPr lang="ru-RU" sz="1200" b="0" i="0" dirty="0"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624091, Россия, Свердловская область,</a:t>
            </a:r>
            <a:br>
              <a:rPr lang="ru-RU" sz="1200" b="0" i="0" dirty="0"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r>
              <a:rPr lang="ru-RU" sz="1200" b="0" i="0" dirty="0"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г. Верхняя Пышма, Успенский проспект, д. 1</a:t>
            </a:r>
            <a:endParaRPr lang="ru-RU" sz="1100" dirty="0">
              <a:solidFill>
                <a:schemeClr val="tx1"/>
              </a:solidFill>
            </a:endParaRP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D2D0DE94-FA3D-D145-A1BA-FA0A64B9C81B}"/>
              </a:ext>
            </a:extLst>
          </p:cNvPr>
          <p:cNvGrpSpPr/>
          <p:nvPr/>
        </p:nvGrpSpPr>
        <p:grpSpPr>
          <a:xfrm>
            <a:off x="828109" y="2206148"/>
            <a:ext cx="608815" cy="612000"/>
            <a:chOff x="828109" y="2162908"/>
            <a:chExt cx="608815" cy="612000"/>
          </a:xfrm>
        </p:grpSpPr>
        <p:sp>
          <p:nvSpPr>
            <p:cNvPr id="20" name="Овал 19">
              <a:extLst>
                <a:ext uri="{FF2B5EF4-FFF2-40B4-BE49-F238E27FC236}">
                  <a16:creationId xmlns:a16="http://schemas.microsoft.com/office/drawing/2014/main" id="{A2542F4A-E017-C04E-A4EB-C25EFC6799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8109" y="2162908"/>
              <a:ext cx="608815" cy="612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79E7E752-44C6-184A-B917-DAC9D9B2F3F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934516" y="2270908"/>
              <a:ext cx="396000" cy="396000"/>
            </a:xfrm>
            <a:prstGeom prst="rect">
              <a:avLst/>
            </a:prstGeom>
          </p:spPr>
        </p:pic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25659B0C-3054-8540-879C-FE1482D3FBE2}"/>
              </a:ext>
            </a:extLst>
          </p:cNvPr>
          <p:cNvGrpSpPr/>
          <p:nvPr/>
        </p:nvGrpSpPr>
        <p:grpSpPr>
          <a:xfrm>
            <a:off x="822970" y="4854779"/>
            <a:ext cx="608815" cy="612000"/>
            <a:chOff x="828109" y="2952049"/>
            <a:chExt cx="608815" cy="612000"/>
          </a:xfrm>
        </p:grpSpPr>
        <p:sp>
          <p:nvSpPr>
            <p:cNvPr id="22" name="Овал 21">
              <a:extLst>
                <a:ext uri="{FF2B5EF4-FFF2-40B4-BE49-F238E27FC236}">
                  <a16:creationId xmlns:a16="http://schemas.microsoft.com/office/drawing/2014/main" id="{DD0B2B27-79ED-3D4E-9703-3563550C72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8109" y="2952049"/>
              <a:ext cx="608815" cy="612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1" name="Рисунок 20">
              <a:extLst>
                <a:ext uri="{FF2B5EF4-FFF2-40B4-BE49-F238E27FC236}">
                  <a16:creationId xmlns:a16="http://schemas.microsoft.com/office/drawing/2014/main" id="{26885703-02DD-0B45-A470-F34CCDF337E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934516" y="3060049"/>
              <a:ext cx="396000" cy="396000"/>
            </a:xfrm>
            <a:prstGeom prst="rect">
              <a:avLst/>
            </a:prstGeom>
          </p:spPr>
        </p:pic>
      </p:grp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C619992D-D680-494C-9228-90EF494F1271}"/>
              </a:ext>
            </a:extLst>
          </p:cNvPr>
          <p:cNvCxnSpPr>
            <a:cxnSpLocks/>
          </p:cNvCxnSpPr>
          <p:nvPr/>
        </p:nvCxnSpPr>
        <p:spPr>
          <a:xfrm>
            <a:off x="11079440" y="6463665"/>
            <a:ext cx="0" cy="1590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A2D4159B-EB78-E143-A1B5-DD36CAF4E706}"/>
              </a:ext>
            </a:extLst>
          </p:cNvPr>
          <p:cNvSpPr txBox="1"/>
          <p:nvPr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 algn="l"/>
              <a:t>7</a:t>
            </a:fld>
            <a:endParaRPr lang="ru-RU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7C2C15CB-C3E1-484F-ABB0-2C06FBA5365C}"/>
              </a:ext>
            </a:extLst>
          </p:cNvPr>
          <p:cNvSpPr/>
          <p:nvPr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sp>
        <p:nvSpPr>
          <p:cNvPr id="43" name="ee4pHeader1">
            <a:extLst>
              <a:ext uri="{FF2B5EF4-FFF2-40B4-BE49-F238E27FC236}">
                <a16:creationId xmlns:a16="http://schemas.microsoft.com/office/drawing/2014/main" id="{211BD286-FA9C-4EC0-A968-BB6DECA4B66A}"/>
              </a:ext>
            </a:extLst>
          </p:cNvPr>
          <p:cNvSpPr txBox="1"/>
          <p:nvPr/>
        </p:nvSpPr>
        <p:spPr>
          <a:xfrm>
            <a:off x="828108" y="3157522"/>
            <a:ext cx="3784037" cy="1354217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defRPr/>
            </a:pPr>
            <a:r>
              <a:rPr lang="ru-RU" sz="2000" b="1" cap="all" dirty="0" smtClean="0">
                <a:solidFill>
                  <a:schemeClr val="accent1"/>
                </a:solidFill>
                <a:cs typeface="Arial" pitchFamily="34" charset="0"/>
              </a:rPr>
              <a:t>Осипова </a:t>
            </a:r>
          </a:p>
          <a:p>
            <a:pPr>
              <a:defRPr/>
            </a:pPr>
            <a:r>
              <a:rPr lang="ru-RU" sz="2000" b="1" cap="all" dirty="0" smtClean="0">
                <a:solidFill>
                  <a:schemeClr val="accent1"/>
                </a:solidFill>
                <a:cs typeface="Arial" pitchFamily="34" charset="0"/>
              </a:rPr>
              <a:t>Инна </a:t>
            </a:r>
            <a:r>
              <a:rPr lang="ru-RU" sz="2000" b="1" cap="all" dirty="0" smtClean="0">
                <a:solidFill>
                  <a:schemeClr val="accent1"/>
                </a:solidFill>
                <a:cs typeface="Arial" pitchFamily="34" charset="0"/>
              </a:rPr>
              <a:t>Анатольевна</a:t>
            </a:r>
          </a:p>
          <a:p>
            <a:pPr>
              <a:defRPr/>
            </a:pPr>
            <a:endParaRPr lang="en-US" sz="2000" b="1" cap="all" dirty="0" smtClean="0">
              <a:solidFill>
                <a:schemeClr val="accent1"/>
              </a:solidFill>
              <a:cs typeface="Arial" pitchFamily="34" charset="0"/>
            </a:endParaRPr>
          </a:p>
          <a:p>
            <a:pPr>
              <a:defRPr/>
            </a:pPr>
            <a:r>
              <a:rPr lang="ru-RU" sz="1400" b="1" cap="all" dirty="0" smtClean="0">
                <a:solidFill>
                  <a:schemeClr val="accent1"/>
                </a:solidFill>
                <a:cs typeface="Arial" pitchFamily="34" charset="0"/>
              </a:rPr>
              <a:t>Начальник управления подготовки персонала</a:t>
            </a:r>
            <a:endParaRPr lang="ru-RU" sz="1400" b="1" cap="all" dirty="0">
              <a:solidFill>
                <a:schemeClr val="accent1"/>
              </a:solidFill>
              <a:cs typeface="Arial" pitchFamily="34" charset="0"/>
            </a:endParaRPr>
          </a:p>
        </p:txBody>
      </p: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0AD3C9B9-0F9A-4375-8C89-019978E13BED}"/>
              </a:ext>
            </a:extLst>
          </p:cNvPr>
          <p:cNvGrpSpPr/>
          <p:nvPr/>
        </p:nvGrpSpPr>
        <p:grpSpPr>
          <a:xfrm>
            <a:off x="822970" y="5749274"/>
            <a:ext cx="608815" cy="608815"/>
            <a:chOff x="1729142" y="5016400"/>
            <a:chExt cx="550305" cy="550305"/>
          </a:xfrm>
        </p:grpSpPr>
        <p:sp>
          <p:nvSpPr>
            <p:cNvPr id="55" name="Овал 54">
              <a:extLst>
                <a:ext uri="{FF2B5EF4-FFF2-40B4-BE49-F238E27FC236}">
                  <a16:creationId xmlns:a16="http://schemas.microsoft.com/office/drawing/2014/main" id="{99A49634-1C57-4931-88FA-8A3A1EB4B9C1}"/>
                </a:ext>
              </a:extLst>
            </p:cNvPr>
            <p:cNvSpPr/>
            <p:nvPr/>
          </p:nvSpPr>
          <p:spPr>
            <a:xfrm>
              <a:off x="1729142" y="5016400"/>
              <a:ext cx="550305" cy="55030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Рисунок 77">
              <a:extLst>
                <a:ext uri="{FF2B5EF4-FFF2-40B4-BE49-F238E27FC236}">
                  <a16:creationId xmlns:a16="http://schemas.microsoft.com/office/drawing/2014/main" id="{7181BF9C-CB64-4622-AD21-A8D1C39AF9AC}"/>
                </a:ext>
              </a:extLst>
            </p:cNvPr>
            <p:cNvSpPr/>
            <p:nvPr/>
          </p:nvSpPr>
          <p:spPr>
            <a:xfrm>
              <a:off x="1858072" y="5149864"/>
              <a:ext cx="281278" cy="280618"/>
            </a:xfrm>
            <a:custGeom>
              <a:avLst/>
              <a:gdLst>
                <a:gd name="connsiteX0" fmla="*/ 143118 w 281278"/>
                <a:gd name="connsiteY0" fmla="*/ 9 h 280618"/>
                <a:gd name="connsiteX1" fmla="*/ 138146 w 281278"/>
                <a:gd name="connsiteY1" fmla="*/ 24 h 280618"/>
                <a:gd name="connsiteX2" fmla="*/ 662 w 281278"/>
                <a:gd name="connsiteY2" fmla="*/ 138523 h 280618"/>
                <a:gd name="connsiteX3" fmla="*/ 0 w 281278"/>
                <a:gd name="connsiteY3" fmla="*/ 141065 h 280618"/>
                <a:gd name="connsiteX4" fmla="*/ 706 w 281278"/>
                <a:gd name="connsiteY4" fmla="*/ 143682 h 280618"/>
                <a:gd name="connsiteX5" fmla="*/ 138150 w 281278"/>
                <a:gd name="connsiteY5" fmla="*/ 280547 h 280618"/>
                <a:gd name="connsiteX6" fmla="*/ 139792 w 281278"/>
                <a:gd name="connsiteY6" fmla="*/ 280619 h 280618"/>
                <a:gd name="connsiteX7" fmla="*/ 140220 w 281278"/>
                <a:gd name="connsiteY7" fmla="*/ 280601 h 280618"/>
                <a:gd name="connsiteX8" fmla="*/ 140951 w 281278"/>
                <a:gd name="connsiteY8" fmla="*/ 280619 h 280618"/>
                <a:gd name="connsiteX9" fmla="*/ 281279 w 281278"/>
                <a:gd name="connsiteY9" fmla="*/ 140287 h 280618"/>
                <a:gd name="connsiteX10" fmla="*/ 143118 w 281278"/>
                <a:gd name="connsiteY10" fmla="*/ 9 h 280618"/>
                <a:gd name="connsiteX11" fmla="*/ 270364 w 281278"/>
                <a:gd name="connsiteY11" fmla="*/ 135665 h 280618"/>
                <a:gd name="connsiteX12" fmla="*/ 218995 w 281278"/>
                <a:gd name="connsiteY12" fmla="*/ 135665 h 280618"/>
                <a:gd name="connsiteX13" fmla="*/ 177041 w 281278"/>
                <a:gd name="connsiteY13" fmla="*/ 15911 h 280618"/>
                <a:gd name="connsiteX14" fmla="*/ 270364 w 281278"/>
                <a:gd name="connsiteY14" fmla="*/ 135665 h 280618"/>
                <a:gd name="connsiteX15" fmla="*/ 135551 w 281278"/>
                <a:gd name="connsiteY15" fmla="*/ 11029 h 280618"/>
                <a:gd name="connsiteX16" fmla="*/ 135551 w 281278"/>
                <a:gd name="connsiteY16" fmla="*/ 135665 h 280618"/>
                <a:gd name="connsiteX17" fmla="*/ 71388 w 281278"/>
                <a:gd name="connsiteY17" fmla="*/ 135665 h 280618"/>
                <a:gd name="connsiteX18" fmla="*/ 135551 w 281278"/>
                <a:gd name="connsiteY18" fmla="*/ 11029 h 280618"/>
                <a:gd name="connsiteX19" fmla="*/ 135551 w 281278"/>
                <a:gd name="connsiteY19" fmla="*/ 146461 h 280618"/>
                <a:gd name="connsiteX20" fmla="*/ 135551 w 281278"/>
                <a:gd name="connsiteY20" fmla="*/ 269545 h 280618"/>
                <a:gd name="connsiteX21" fmla="*/ 71410 w 281278"/>
                <a:gd name="connsiteY21" fmla="*/ 146461 h 280618"/>
                <a:gd name="connsiteX22" fmla="*/ 135551 w 281278"/>
                <a:gd name="connsiteY22" fmla="*/ 146461 h 280618"/>
                <a:gd name="connsiteX23" fmla="*/ 146351 w 281278"/>
                <a:gd name="connsiteY23" fmla="*/ 269210 h 280618"/>
                <a:gd name="connsiteX24" fmla="*/ 146351 w 281278"/>
                <a:gd name="connsiteY24" fmla="*/ 146461 h 280618"/>
                <a:gd name="connsiteX25" fmla="*/ 208174 w 281278"/>
                <a:gd name="connsiteY25" fmla="*/ 146461 h 280618"/>
                <a:gd name="connsiteX26" fmla="*/ 146351 w 281278"/>
                <a:gd name="connsiteY26" fmla="*/ 269210 h 280618"/>
                <a:gd name="connsiteX27" fmla="*/ 146351 w 281278"/>
                <a:gd name="connsiteY27" fmla="*/ 135665 h 280618"/>
                <a:gd name="connsiteX28" fmla="*/ 146351 w 281278"/>
                <a:gd name="connsiteY28" fmla="*/ 11364 h 280618"/>
                <a:gd name="connsiteX29" fmla="*/ 208195 w 281278"/>
                <a:gd name="connsiteY29" fmla="*/ 135665 h 280618"/>
                <a:gd name="connsiteX30" fmla="*/ 146351 w 281278"/>
                <a:gd name="connsiteY30" fmla="*/ 135665 h 280618"/>
                <a:gd name="connsiteX31" fmla="*/ 101419 w 281278"/>
                <a:gd name="connsiteY31" fmla="*/ 16947 h 280618"/>
                <a:gd name="connsiteX32" fmla="*/ 60588 w 281278"/>
                <a:gd name="connsiteY32" fmla="*/ 135665 h 280618"/>
                <a:gd name="connsiteX33" fmla="*/ 11534 w 281278"/>
                <a:gd name="connsiteY33" fmla="*/ 135665 h 280618"/>
                <a:gd name="connsiteX34" fmla="*/ 101419 w 281278"/>
                <a:gd name="connsiteY34" fmla="*/ 16947 h 280618"/>
                <a:gd name="connsiteX35" fmla="*/ 11574 w 281278"/>
                <a:gd name="connsiteY35" fmla="*/ 146461 h 280618"/>
                <a:gd name="connsiteX36" fmla="*/ 60613 w 281278"/>
                <a:gd name="connsiteY36" fmla="*/ 146461 h 280618"/>
                <a:gd name="connsiteX37" fmla="*/ 101423 w 281278"/>
                <a:gd name="connsiteY37" fmla="*/ 263627 h 280618"/>
                <a:gd name="connsiteX38" fmla="*/ 11574 w 281278"/>
                <a:gd name="connsiteY38" fmla="*/ 146461 h 280618"/>
                <a:gd name="connsiteX39" fmla="*/ 177041 w 281278"/>
                <a:gd name="connsiteY39" fmla="*/ 264663 h 280618"/>
                <a:gd name="connsiteX40" fmla="*/ 218974 w 281278"/>
                <a:gd name="connsiteY40" fmla="*/ 146461 h 280618"/>
                <a:gd name="connsiteX41" fmla="*/ 270324 w 281278"/>
                <a:gd name="connsiteY41" fmla="*/ 146461 h 280618"/>
                <a:gd name="connsiteX42" fmla="*/ 177041 w 281278"/>
                <a:gd name="connsiteY42" fmla="*/ 264663 h 280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81278" h="280618">
                  <a:moveTo>
                    <a:pt x="143118" y="9"/>
                  </a:moveTo>
                  <a:cubicBezTo>
                    <a:pt x="142196" y="-16"/>
                    <a:pt x="138366" y="17"/>
                    <a:pt x="138146" y="24"/>
                  </a:cubicBezTo>
                  <a:cubicBezTo>
                    <a:pt x="62651" y="1518"/>
                    <a:pt x="1606" y="62894"/>
                    <a:pt x="662" y="138523"/>
                  </a:cubicBezTo>
                  <a:cubicBezTo>
                    <a:pt x="252" y="139283"/>
                    <a:pt x="0" y="140139"/>
                    <a:pt x="0" y="141065"/>
                  </a:cubicBezTo>
                  <a:cubicBezTo>
                    <a:pt x="0" y="142022"/>
                    <a:pt x="270" y="142904"/>
                    <a:pt x="706" y="143682"/>
                  </a:cubicBezTo>
                  <a:cubicBezTo>
                    <a:pt x="2498" y="218562"/>
                    <a:pt x="63198" y="279067"/>
                    <a:pt x="138150" y="280547"/>
                  </a:cubicBezTo>
                  <a:cubicBezTo>
                    <a:pt x="138697" y="280565"/>
                    <a:pt x="139241" y="280619"/>
                    <a:pt x="139792" y="280619"/>
                  </a:cubicBezTo>
                  <a:cubicBezTo>
                    <a:pt x="139936" y="280619"/>
                    <a:pt x="140076" y="280601"/>
                    <a:pt x="140220" y="280601"/>
                  </a:cubicBezTo>
                  <a:cubicBezTo>
                    <a:pt x="140465" y="280601"/>
                    <a:pt x="140706" y="280619"/>
                    <a:pt x="140951" y="280619"/>
                  </a:cubicBezTo>
                  <a:cubicBezTo>
                    <a:pt x="218329" y="280619"/>
                    <a:pt x="281279" y="217669"/>
                    <a:pt x="281279" y="140287"/>
                  </a:cubicBezTo>
                  <a:cubicBezTo>
                    <a:pt x="281282" y="63636"/>
                    <a:pt x="219499" y="1179"/>
                    <a:pt x="143118" y="9"/>
                  </a:cubicBezTo>
                  <a:close/>
                  <a:moveTo>
                    <a:pt x="270364" y="135665"/>
                  </a:moveTo>
                  <a:lnTo>
                    <a:pt x="218995" y="135665"/>
                  </a:lnTo>
                  <a:cubicBezTo>
                    <a:pt x="218074" y="82986"/>
                    <a:pt x="201514" y="38497"/>
                    <a:pt x="177041" y="15911"/>
                  </a:cubicBezTo>
                  <a:cubicBezTo>
                    <a:pt x="229532" y="31167"/>
                    <a:pt x="268355" y="78795"/>
                    <a:pt x="270364" y="135665"/>
                  </a:cubicBezTo>
                  <a:close/>
                  <a:moveTo>
                    <a:pt x="135551" y="11029"/>
                  </a:moveTo>
                  <a:lnTo>
                    <a:pt x="135551" y="135665"/>
                  </a:lnTo>
                  <a:lnTo>
                    <a:pt x="71388" y="135665"/>
                  </a:lnTo>
                  <a:cubicBezTo>
                    <a:pt x="72630" y="69050"/>
                    <a:pt x="100573" y="15093"/>
                    <a:pt x="135551" y="11029"/>
                  </a:cubicBezTo>
                  <a:close/>
                  <a:moveTo>
                    <a:pt x="135551" y="146461"/>
                  </a:moveTo>
                  <a:lnTo>
                    <a:pt x="135551" y="269545"/>
                  </a:lnTo>
                  <a:cubicBezTo>
                    <a:pt x="100847" y="265509"/>
                    <a:pt x="73051" y="212363"/>
                    <a:pt x="71410" y="146461"/>
                  </a:cubicBezTo>
                  <a:lnTo>
                    <a:pt x="135551" y="146461"/>
                  </a:lnTo>
                  <a:close/>
                  <a:moveTo>
                    <a:pt x="146351" y="269210"/>
                  </a:moveTo>
                  <a:lnTo>
                    <a:pt x="146351" y="146461"/>
                  </a:lnTo>
                  <a:lnTo>
                    <a:pt x="208174" y="146461"/>
                  </a:lnTo>
                  <a:cubicBezTo>
                    <a:pt x="206568" y="210890"/>
                    <a:pt x="179971" y="263137"/>
                    <a:pt x="146351" y="269210"/>
                  </a:cubicBezTo>
                  <a:close/>
                  <a:moveTo>
                    <a:pt x="146351" y="135665"/>
                  </a:moveTo>
                  <a:lnTo>
                    <a:pt x="146351" y="11364"/>
                  </a:lnTo>
                  <a:cubicBezTo>
                    <a:pt x="180238" y="17487"/>
                    <a:pt x="206978" y="70530"/>
                    <a:pt x="208195" y="135665"/>
                  </a:cubicBezTo>
                  <a:lnTo>
                    <a:pt x="146351" y="135665"/>
                  </a:lnTo>
                  <a:close/>
                  <a:moveTo>
                    <a:pt x="101419" y="16947"/>
                  </a:moveTo>
                  <a:cubicBezTo>
                    <a:pt x="77562" y="39847"/>
                    <a:pt x="61495" y="83792"/>
                    <a:pt x="60588" y="135665"/>
                  </a:cubicBezTo>
                  <a:lnTo>
                    <a:pt x="11534" y="135665"/>
                  </a:lnTo>
                  <a:cubicBezTo>
                    <a:pt x="13500" y="80045"/>
                    <a:pt x="50677" y="33248"/>
                    <a:pt x="101419" y="16947"/>
                  </a:cubicBezTo>
                  <a:close/>
                  <a:moveTo>
                    <a:pt x="11574" y="146461"/>
                  </a:moveTo>
                  <a:lnTo>
                    <a:pt x="60613" y="146461"/>
                  </a:lnTo>
                  <a:cubicBezTo>
                    <a:pt x="61808" y="197660"/>
                    <a:pt x="77803" y="240957"/>
                    <a:pt x="101423" y="263627"/>
                  </a:cubicBezTo>
                  <a:cubicBezTo>
                    <a:pt x="51145" y="247477"/>
                    <a:pt x="14166" y="201404"/>
                    <a:pt x="11574" y="146461"/>
                  </a:cubicBezTo>
                  <a:close/>
                  <a:moveTo>
                    <a:pt x="177041" y="264663"/>
                  </a:moveTo>
                  <a:cubicBezTo>
                    <a:pt x="201272" y="242297"/>
                    <a:pt x="217760" y="198467"/>
                    <a:pt x="218974" y="146461"/>
                  </a:cubicBezTo>
                  <a:lnTo>
                    <a:pt x="270324" y="146461"/>
                  </a:lnTo>
                  <a:cubicBezTo>
                    <a:pt x="267674" y="202646"/>
                    <a:pt x="229057" y="249547"/>
                    <a:pt x="177041" y="264663"/>
                  </a:cubicBezTo>
                  <a:close/>
                </a:path>
              </a:pathLst>
            </a:custGeom>
            <a:solidFill>
              <a:srgbClr val="000000"/>
            </a:solidFill>
            <a:ln w="35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8266587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2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141">
      <a:dk1>
        <a:srgbClr val="000000"/>
      </a:dk1>
      <a:lt1>
        <a:srgbClr val="FFFFFF"/>
      </a:lt1>
      <a:dk2>
        <a:srgbClr val="F1F2F1"/>
      </a:dk2>
      <a:lt2>
        <a:srgbClr val="5E5C5C"/>
      </a:lt2>
      <a:accent1>
        <a:srgbClr val="EB8B2D"/>
      </a:accent1>
      <a:accent2>
        <a:srgbClr val="CD441F"/>
      </a:accent2>
      <a:accent3>
        <a:srgbClr val="88192B"/>
      </a:accent3>
      <a:accent4>
        <a:srgbClr val="FEDE5D"/>
      </a:accent4>
      <a:accent5>
        <a:srgbClr val="4DA958"/>
      </a:accent5>
      <a:accent6>
        <a:srgbClr val="B5DCA4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180000" tIns="90000" rIns="46800" bIns="46800" rtlCol="0" anchor="t"/>
      <a:lstStyle>
        <a:defPPr algn="l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 anchor="t">
        <a:spAutoFit/>
      </a:bodyPr>
      <a:lstStyle>
        <a:defPPr algn="l">
          <a:defRPr sz="1200" dirty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EFF11B57AF927E48A713F8B75CFE1B46" ma:contentTypeVersion="0" ma:contentTypeDescription="Создание документа." ma:contentTypeScope="" ma:versionID="806c17182c6caab74b330c4544faf8f6">
  <xsd:schema xmlns:xsd="http://www.w3.org/2001/XMLSchema" xmlns:xs="http://www.w3.org/2001/XMLSchema" xmlns:p="http://schemas.microsoft.com/office/2006/metadata/properties" xmlns:ns2="2eb23eb2-4919-4bd4-b5be-0d6d4eb9c3d7" targetNamespace="http://schemas.microsoft.com/office/2006/metadata/properties" ma:root="true" ma:fieldsID="9a03c2cbe4aa3cf1f9477f399a9634a0" ns2:_="">
    <xsd:import namespace="2eb23eb2-4919-4bd4-b5be-0d6d4eb9c3d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b23eb2-4919-4bd4-b5be-0d6d4eb9c3d7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2eb23eb2-4919-4bd4-b5be-0d6d4eb9c3d7">YHEFWEUWANX7-343-3</_dlc_DocId>
    <_dlc_DocIdUrl xmlns="2eb23eb2-4919-4bd4-b5be-0d6d4eb9c3d7">
      <Url>https://corp.ugmk.com/_layouts/15/DocIdRedir.aspx?ID=YHEFWEUWANX7-343-3</Url>
      <Description>YHEFWEUWANX7-343-3</Description>
    </_dlc_DocIdUrl>
  </documentManagement>
</p:properties>
</file>

<file path=customXml/itemProps1.xml><?xml version="1.0" encoding="utf-8"?>
<ds:datastoreItem xmlns:ds="http://schemas.openxmlformats.org/officeDocument/2006/customXml" ds:itemID="{30FFB783-7400-4D54-9394-A0A3DD7A4C3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F8155F8-E5E1-434B-B688-CB1A13F20A91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71256983-9CB8-4575-A9DC-159CA9215F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b23eb2-4919-4bd4-b5be-0d6d4eb9c3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1D9678E1-76D2-448C-A408-D6EACF08EDF4}">
  <ds:schemaRefs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microsoft.com/office/2006/documentManagement/types"/>
    <ds:schemaRef ds:uri="2eb23eb2-4919-4bd4-b5be-0d6d4eb9c3d7"/>
    <ds:schemaRef ds:uri="http://schemas.openxmlformats.org/package/2006/metadata/core-properties"/>
    <ds:schemaRef ds:uri="http://purl.org/dc/elements/1.1/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408</TotalTime>
  <Words>483</Words>
  <Application>Microsoft Office PowerPoint</Application>
  <PresentationFormat>Широкоэкранный</PresentationFormat>
  <Paragraphs>96</Paragraphs>
  <Slides>7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3" baseType="lpstr">
      <vt:lpstr>Arial</vt:lpstr>
      <vt:lpstr>Calibri</vt:lpstr>
      <vt:lpstr>Euclid Circular A</vt:lpstr>
      <vt:lpstr>Euclid Circular B</vt:lpstr>
      <vt:lpstr>Тема Office</vt:lpstr>
      <vt:lpstr>Слайд think-cell</vt:lpstr>
      <vt:lpstr>«Инженерная школа УГМК»</vt:lpstr>
      <vt:lpstr>О проекте</vt:lpstr>
      <vt:lpstr>Отбор учеников в Инженерную школу УГМК</vt:lpstr>
      <vt:lpstr>Контингент</vt:lpstr>
      <vt:lpstr>Формат обучения</vt:lpstr>
      <vt:lpstr>Эффект</vt:lpstr>
      <vt:lpstr>Контактные данные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9990007889@gmail.com</dc:creator>
  <cp:lastModifiedBy>Рожкова Мария Константиновна</cp:lastModifiedBy>
  <cp:revision>983</cp:revision>
  <dcterms:created xsi:type="dcterms:W3CDTF">2021-03-31T07:59:31Z</dcterms:created>
  <dcterms:modified xsi:type="dcterms:W3CDTF">2021-11-11T08:48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FF11B57AF927E48A713F8B75CFE1B46</vt:lpwstr>
  </property>
  <property fmtid="{D5CDD505-2E9C-101B-9397-08002B2CF9AE}" pid="3" name="_dlc_DocIdItemGuid">
    <vt:lpwstr>e1f57fe3-0f07-486e-9892-b2d28e186dbc</vt:lpwstr>
  </property>
</Properties>
</file>